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8"/>
  </p:notesMasterIdLst>
  <p:handoutMasterIdLst>
    <p:handoutMasterId r:id="rId19"/>
  </p:handoutMasterIdLst>
  <p:sldIdLst>
    <p:sldId id="256" r:id="rId5"/>
    <p:sldId id="268" r:id="rId6"/>
    <p:sldId id="2147376633" r:id="rId7"/>
    <p:sldId id="2147376635" r:id="rId8"/>
    <p:sldId id="2147376634" r:id="rId9"/>
    <p:sldId id="1677" r:id="rId10"/>
    <p:sldId id="2747" r:id="rId11"/>
    <p:sldId id="2147376533" r:id="rId12"/>
    <p:sldId id="2737" r:id="rId13"/>
    <p:sldId id="572" r:id="rId14"/>
    <p:sldId id="2147376534" r:id="rId15"/>
    <p:sldId id="3626" r:id="rId16"/>
    <p:sldId id="2147376636" r:id="rId17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333333"/>
    <a:srgbClr val="F44D47"/>
    <a:srgbClr val="666666"/>
    <a:srgbClr val="E32119"/>
    <a:srgbClr val="000000"/>
    <a:srgbClr val="FDC304"/>
    <a:srgbClr val="82CBD4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1527AD-A3C9-4F57-81F3-6F9F04F17D8F}" v="80" dt="2025-01-24T13:02:06.0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7/01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7/01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76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1300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428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7798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590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  <p:sldLayoutId id="2147483868" r:id="rId60"/>
    <p:sldLayoutId id="2147483869" r:id="rId61"/>
    <p:sldLayoutId id="2147483870" r:id="rId62"/>
    <p:sldLayoutId id="2147483871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50.pn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9.sv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8.png"/><Relationship Id="rId5" Type="http://schemas.openxmlformats.org/officeDocument/2006/relationships/tags" Target="../tags/tag22.xml"/><Relationship Id="rId15" Type="http://schemas.openxmlformats.org/officeDocument/2006/relationships/hyperlink" Target="https://www.royalmailwholesale.com/testing-and-innovation" TargetMode="External"/><Relationship Id="rId10" Type="http://schemas.openxmlformats.org/officeDocument/2006/relationships/image" Target="../media/image47.svg"/><Relationship Id="rId4" Type="http://schemas.openxmlformats.org/officeDocument/2006/relationships/tags" Target="../tags/tag21.xml"/><Relationship Id="rId9" Type="http://schemas.openxmlformats.org/officeDocument/2006/relationships/image" Target="../media/image46.png"/><Relationship Id="rId14" Type="http://schemas.openxmlformats.org/officeDocument/2006/relationships/image" Target="../media/image51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slideLayout" Target="../slideLayouts/slideLayout12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sv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5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90F3E-697B-B504-13AD-424A3899B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CHARITY INCENTIVE</a:t>
            </a:r>
            <a:br>
              <a:rPr lang="en-US" dirty="0"/>
            </a:br>
            <a:r>
              <a:rPr lang="en-US" dirty="0"/>
              <a:t>2025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BB1F48-86D6-D1C6-11BC-B0E526C828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add more mail volume to your pla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711DEF-E5E1-9DC0-DE13-E58F2A62E1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3744883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30</a:t>
            </a:r>
            <a:r>
              <a:rPr lang="en-GB" baseline="30000" dirty="0"/>
              <a:t>th</a:t>
            </a:r>
            <a:r>
              <a:rPr lang="en-GB" dirty="0"/>
              <a:t> May 2025</a:t>
            </a:r>
          </a:p>
        </p:txBody>
      </p:sp>
      <p:sp>
        <p:nvSpPr>
          <p:cNvPr id="47" name="Slide Number Placeholder 3">
            <a:extLst>
              <a:ext uri="{FF2B5EF4-FFF2-40B4-BE49-F238E27FC236}">
                <a16:creationId xmlns:a16="http://schemas.microsoft.com/office/drawing/2014/main" id="{00FA94D1-A469-4B1A-9D12-9A6393F3DE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042FC4-4776-40FD-FB65-F34D5AA3D7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D1C345-F30B-A650-806F-B45FE4163F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E2C730-23D4-4FA5-233D-D88D27C78D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tell us about the objectives and strategy for your new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now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returning to mail after a break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BEE0F7-E441-6652-47D0-13AC4B68B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7D6AC0-7516-6C1A-CE25-A6217CE60C8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E775B-D062-640A-9EF2-12AD4761C9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E2ADCF-C8BE-9201-7C72-75D682A2DD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 of existing customer bas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23B4F53-2B36-EDCB-EADB-564CA0EC8F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donations, ROI, and so o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For example, drive to digital, footfall to store or other softer brand measures?</a:t>
            </a:r>
          </a:p>
          <a:p>
            <a:endParaRPr lang="en-GB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735440-C1BB-77FD-CF33-162D731506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FF5F90-8937-992C-5BF4-AD0FDC3E47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E11DE1-0132-BA11-51DF-9040FB256E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23134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AD362DF-7773-9FDC-1F10-9D36D77AE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BDB914-80CC-4817-56AB-FF2DB68D2D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31852" y="364937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31852" y="4453413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B15AD6-1E54-438F-95E9-6519FC8D733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31852" y="5246943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4" name="Help">
              <a:extLst>
                <a:ext uri="{FF2B5EF4-FFF2-40B4-BE49-F238E27FC236}">
                  <a16:creationId xmlns:a16="http://schemas.microsoft.com/office/drawing/2014/main" id="{7EE75E5C-C249-4F64-9447-BF10A969B87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CF295AEC-7E4E-4606-A34F-C376E72B9942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Help">
              <a:extLst>
                <a:ext uri="{FF2B5EF4-FFF2-40B4-BE49-F238E27FC236}">
                  <a16:creationId xmlns:a16="http://schemas.microsoft.com/office/drawing/2014/main" id="{57A7AFEC-CDFA-4AB1-9EEE-FF505AA891B1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3A8AF72-7ABC-4608-849C-36584A602F4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31852" y="2823777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9" name="Help">
              <a:extLst>
                <a:ext uri="{FF2B5EF4-FFF2-40B4-BE49-F238E27FC236}">
                  <a16:creationId xmlns:a16="http://schemas.microsoft.com/office/drawing/2014/main" id="{85919E16-8C43-419E-B590-904510D6C2FF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4D2C0B74-AFBE-4571-B9D1-10DD266ED4F4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elp">
              <a:extLst>
                <a:ext uri="{FF2B5EF4-FFF2-40B4-BE49-F238E27FC236}">
                  <a16:creationId xmlns:a16="http://schemas.microsoft.com/office/drawing/2014/main" id="{8C9606DF-4F70-4876-AAE2-AD19C8895C18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7355288-F3C1-D71B-15D7-AD9CCE3CF9AF}"/>
              </a:ext>
            </a:extLst>
          </p:cNvPr>
          <p:cNvSpPr/>
          <p:nvPr/>
        </p:nvSpPr>
        <p:spPr>
          <a:xfrm>
            <a:off x="4896051" y="1893496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GB" sz="1600" dirty="0">
                <a:solidFill>
                  <a:srgbClr val="000000"/>
                </a:solidFill>
              </a:rPr>
              <a:t>Yes, you can use either Standard or Economy  Mailmark Advertising Mail Letter or Large Letter format. Minimum volume is 100k items.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67864D-A91B-B9EF-8567-EF7DF21151F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31852" y="200759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8" name="Help">
              <a:extLst>
                <a:ext uri="{FF2B5EF4-FFF2-40B4-BE49-F238E27FC236}">
                  <a16:creationId xmlns:a16="http://schemas.microsoft.com/office/drawing/2014/main" id="{012A2446-341B-E1B9-0F97-36E5CBEAB43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Help">
              <a:extLst>
                <a:ext uri="{FF2B5EF4-FFF2-40B4-BE49-F238E27FC236}">
                  <a16:creationId xmlns:a16="http://schemas.microsoft.com/office/drawing/2014/main" id="{E051B277-9F54-FEE8-1D3C-DEBF27D8BFAC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Help">
              <a:extLst>
                <a:ext uri="{FF2B5EF4-FFF2-40B4-BE49-F238E27FC236}">
                  <a16:creationId xmlns:a16="http://schemas.microsoft.com/office/drawing/2014/main" id="{85CF931A-134A-7DDE-534F-52F16C0A96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896051" y="349385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896051" y="4301917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receive the standard TIS credit rate for any qualifying items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E3ED3-AAE0-4D15-A8F9-BD6074CBF47B}"/>
              </a:ext>
            </a:extLst>
          </p:cNvPr>
          <p:cNvSpPr/>
          <p:nvPr/>
        </p:nvSpPr>
        <p:spPr>
          <a:xfrm>
            <a:off x="4896051" y="510335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D39D008-618C-4EED-B32E-B5FD5F5DFBAB}"/>
              </a:ext>
            </a:extLst>
          </p:cNvPr>
          <p:cNvSpPr/>
          <p:nvPr/>
        </p:nvSpPr>
        <p:spPr>
          <a:xfrm>
            <a:off x="4896051" y="269104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GB" sz="1600" dirty="0">
                <a:solidFill>
                  <a:srgbClr val="000000"/>
                </a:solidFill>
              </a:rPr>
              <a:t>Yes, you can use Catalogue Mail Letter or Large Letter format. Minimum volume is 50k items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40ED7D-BD8B-88FA-EBDA-A0BB00746DFE}"/>
              </a:ext>
            </a:extLst>
          </p:cNvPr>
          <p:cNvSpPr/>
          <p:nvPr/>
        </p:nvSpPr>
        <p:spPr>
          <a:xfrm>
            <a:off x="1095801" y="1893496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Standard Advertising Mail Mailmark items and qualify for postage credits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095801" y="3493855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095801" y="4301917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the minimum volume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F1A4C-57BA-4043-9CA1-32D94A7FE455}"/>
              </a:ext>
            </a:extLst>
          </p:cNvPr>
          <p:cNvSpPr/>
          <p:nvPr/>
        </p:nvSpPr>
        <p:spPr>
          <a:xfrm>
            <a:off x="1095801" y="5103355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5A089F-8EF8-47F3-87D1-1064E1E3F515}"/>
              </a:ext>
            </a:extLst>
          </p:cNvPr>
          <p:cNvSpPr/>
          <p:nvPr/>
        </p:nvSpPr>
        <p:spPr>
          <a:xfrm>
            <a:off x="1095801" y="2691048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Catalogue Mail items and qualify for postage credits?</a:t>
            </a:r>
          </a:p>
        </p:txBody>
      </p: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C90BED-548C-E428-E600-21D1BBF1C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25C31C-68F9-4CC7-8ED3-051F9D83267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9660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1469AA-4029-2D96-B984-B87C1720F6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27510E-C66F-90AF-E6E3-CAF9F3614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rates with charity m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DC543-7FDC-B7C1-71B5-AD514FA6AE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32833" y="6372661"/>
            <a:ext cx="4680000" cy="133165"/>
          </a:xfrm>
        </p:spPr>
        <p:txBody>
          <a:bodyPr/>
          <a:lstStyle/>
          <a:p>
            <a:r>
              <a:rPr lang="en-GB" sz="1100" dirty="0"/>
              <a:t>Source:  JICMAIL, Mail Item Database, Charity, 2024, n=1,990</a:t>
            </a:r>
          </a:p>
        </p:txBody>
      </p:sp>
      <p:grpSp>
        <p:nvGrpSpPr>
          <p:cNvPr id="6" name="Engage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44C9803-AD2B-06BC-3D08-7D2126AAC943}"/>
              </a:ext>
            </a:extLst>
          </p:cNvPr>
          <p:cNvGrpSpPr>
            <a:grpSpLocks noChangeAspect="1"/>
          </p:cNvGrpSpPr>
          <p:nvPr/>
        </p:nvGrpSpPr>
        <p:grpSpPr>
          <a:xfrm>
            <a:off x="7274656" y="2894929"/>
            <a:ext cx="2344742" cy="2061760"/>
            <a:chOff x="5443539" y="6323013"/>
            <a:chExt cx="552450" cy="485775"/>
          </a:xfrm>
          <a:solidFill>
            <a:schemeClr val="tx1"/>
          </a:solidFill>
        </p:grpSpPr>
        <p:sp>
          <p:nvSpPr>
            <p:cNvPr id="7" name="Freeform 659">
              <a:extLst>
                <a:ext uri="{FF2B5EF4-FFF2-40B4-BE49-F238E27FC236}">
                  <a16:creationId xmlns:a16="http://schemas.microsoft.com/office/drawing/2014/main" id="{6F930AB5-3670-028D-C78C-C160E8527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6" y="6535738"/>
              <a:ext cx="17463" cy="34925"/>
            </a:xfrm>
            <a:custGeom>
              <a:avLst/>
              <a:gdLst>
                <a:gd name="T0" fmla="*/ 50 w 101"/>
                <a:gd name="T1" fmla="*/ 203 h 203"/>
                <a:gd name="T2" fmla="*/ 0 w 101"/>
                <a:gd name="T3" fmla="*/ 154 h 203"/>
                <a:gd name="T4" fmla="*/ 0 w 101"/>
                <a:gd name="T5" fmla="*/ 50 h 203"/>
                <a:gd name="T6" fmla="*/ 50 w 101"/>
                <a:gd name="T7" fmla="*/ 0 h 203"/>
                <a:gd name="T8" fmla="*/ 100 w 101"/>
                <a:gd name="T9" fmla="*/ 50 h 203"/>
                <a:gd name="T10" fmla="*/ 100 w 101"/>
                <a:gd name="T11" fmla="*/ 152 h 203"/>
                <a:gd name="T12" fmla="*/ 51 w 101"/>
                <a:gd name="T13" fmla="*/ 203 h 203"/>
                <a:gd name="T14" fmla="*/ 50 w 101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03">
                  <a:moveTo>
                    <a:pt x="50" y="203"/>
                  </a:moveTo>
                  <a:cubicBezTo>
                    <a:pt x="23" y="203"/>
                    <a:pt x="1" y="181"/>
                    <a:pt x="0" y="154"/>
                  </a:cubicBezTo>
                  <a:cubicBezTo>
                    <a:pt x="0" y="154"/>
                    <a:pt x="0" y="129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127"/>
                    <a:pt x="100" y="152"/>
                    <a:pt x="100" y="152"/>
                  </a:cubicBezTo>
                  <a:cubicBezTo>
                    <a:pt x="101" y="180"/>
                    <a:pt x="79" y="203"/>
                    <a:pt x="51" y="203"/>
                  </a:cubicBezTo>
                  <a:lnTo>
                    <a:pt x="50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660">
              <a:extLst>
                <a:ext uri="{FF2B5EF4-FFF2-40B4-BE49-F238E27FC236}">
                  <a16:creationId xmlns:a16="http://schemas.microsoft.com/office/drawing/2014/main" id="{1C776DDB-6C48-160C-AB33-44578738C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9" y="6432550"/>
              <a:ext cx="17463" cy="33338"/>
            </a:xfrm>
            <a:custGeom>
              <a:avLst/>
              <a:gdLst>
                <a:gd name="T0" fmla="*/ 52 w 102"/>
                <a:gd name="T1" fmla="*/ 193 h 193"/>
                <a:gd name="T2" fmla="*/ 2 w 102"/>
                <a:gd name="T3" fmla="*/ 144 h 193"/>
                <a:gd name="T4" fmla="*/ 1 w 102"/>
                <a:gd name="T5" fmla="*/ 51 h 193"/>
                <a:gd name="T6" fmla="*/ 50 w 102"/>
                <a:gd name="T7" fmla="*/ 0 h 193"/>
                <a:gd name="T8" fmla="*/ 51 w 102"/>
                <a:gd name="T9" fmla="*/ 0 h 193"/>
                <a:gd name="T10" fmla="*/ 101 w 102"/>
                <a:gd name="T11" fmla="*/ 50 h 193"/>
                <a:gd name="T12" fmla="*/ 102 w 102"/>
                <a:gd name="T13" fmla="*/ 143 h 193"/>
                <a:gd name="T14" fmla="*/ 52 w 102"/>
                <a:gd name="T15" fmla="*/ 193 h 193"/>
                <a:gd name="T16" fmla="*/ 52 w 102"/>
                <a:gd name="T17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93">
                  <a:moveTo>
                    <a:pt x="52" y="193"/>
                  </a:moveTo>
                  <a:cubicBezTo>
                    <a:pt x="24" y="193"/>
                    <a:pt x="2" y="171"/>
                    <a:pt x="2" y="144"/>
                  </a:cubicBezTo>
                  <a:lnTo>
                    <a:pt x="1" y="51"/>
                  </a:lnTo>
                  <a:cubicBezTo>
                    <a:pt x="0" y="23"/>
                    <a:pt x="22" y="1"/>
                    <a:pt x="50" y="0"/>
                  </a:cubicBezTo>
                  <a:lnTo>
                    <a:pt x="51" y="0"/>
                  </a:lnTo>
                  <a:cubicBezTo>
                    <a:pt x="78" y="0"/>
                    <a:pt x="100" y="22"/>
                    <a:pt x="101" y="50"/>
                  </a:cubicBezTo>
                  <a:lnTo>
                    <a:pt x="102" y="143"/>
                  </a:lnTo>
                  <a:cubicBezTo>
                    <a:pt x="102" y="170"/>
                    <a:pt x="80" y="193"/>
                    <a:pt x="52" y="193"/>
                  </a:cubicBezTo>
                  <a:lnTo>
                    <a:pt x="52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661">
              <a:extLst>
                <a:ext uri="{FF2B5EF4-FFF2-40B4-BE49-F238E27FC236}">
                  <a16:creationId xmlns:a16="http://schemas.microsoft.com/office/drawing/2014/main" id="{95669D5B-6F7F-8950-E33F-7E9005C89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551" y="6492875"/>
              <a:ext cx="36513" cy="17463"/>
            </a:xfrm>
            <a:custGeom>
              <a:avLst/>
              <a:gdLst>
                <a:gd name="T0" fmla="*/ 162 w 212"/>
                <a:gd name="T1" fmla="*/ 100 h 100"/>
                <a:gd name="T2" fmla="*/ 162 w 212"/>
                <a:gd name="T3" fmla="*/ 100 h 100"/>
                <a:gd name="T4" fmla="*/ 50 w 212"/>
                <a:gd name="T5" fmla="*/ 100 h 100"/>
                <a:gd name="T6" fmla="*/ 0 w 212"/>
                <a:gd name="T7" fmla="*/ 50 h 100"/>
                <a:gd name="T8" fmla="*/ 50 w 212"/>
                <a:gd name="T9" fmla="*/ 0 h 100"/>
                <a:gd name="T10" fmla="*/ 162 w 212"/>
                <a:gd name="T11" fmla="*/ 0 h 100"/>
                <a:gd name="T12" fmla="*/ 212 w 212"/>
                <a:gd name="T13" fmla="*/ 50 h 100"/>
                <a:gd name="T14" fmla="*/ 162 w 212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00">
                  <a:moveTo>
                    <a:pt x="162" y="100"/>
                  </a:moveTo>
                  <a:lnTo>
                    <a:pt x="162" y="100"/>
                  </a:lnTo>
                  <a:cubicBezTo>
                    <a:pt x="162" y="100"/>
                    <a:pt x="128" y="100"/>
                    <a:pt x="50" y="100"/>
                  </a:cubicBezTo>
                  <a:cubicBezTo>
                    <a:pt x="23" y="100"/>
                    <a:pt x="0" y="78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128" y="0"/>
                    <a:pt x="162" y="0"/>
                    <a:pt x="162" y="0"/>
                  </a:cubicBezTo>
                  <a:cubicBezTo>
                    <a:pt x="190" y="0"/>
                    <a:pt x="212" y="23"/>
                    <a:pt x="212" y="50"/>
                  </a:cubicBezTo>
                  <a:cubicBezTo>
                    <a:pt x="212" y="78"/>
                    <a:pt x="189" y="100"/>
                    <a:pt x="162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662">
              <a:extLst>
                <a:ext uri="{FF2B5EF4-FFF2-40B4-BE49-F238E27FC236}">
                  <a16:creationId xmlns:a16="http://schemas.microsoft.com/office/drawing/2014/main" id="{ED877277-1441-F308-9187-2E2DD149D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539" y="6492875"/>
              <a:ext cx="34925" cy="17463"/>
            </a:xfrm>
            <a:custGeom>
              <a:avLst/>
              <a:gdLst>
                <a:gd name="T0" fmla="*/ 50 w 210"/>
                <a:gd name="T1" fmla="*/ 100 h 100"/>
                <a:gd name="T2" fmla="*/ 0 w 210"/>
                <a:gd name="T3" fmla="*/ 50 h 100"/>
                <a:gd name="T4" fmla="*/ 49 w 210"/>
                <a:gd name="T5" fmla="*/ 0 h 100"/>
                <a:gd name="T6" fmla="*/ 160 w 210"/>
                <a:gd name="T7" fmla="*/ 0 h 100"/>
                <a:gd name="T8" fmla="*/ 210 w 210"/>
                <a:gd name="T9" fmla="*/ 50 h 100"/>
                <a:gd name="T10" fmla="*/ 160 w 210"/>
                <a:gd name="T11" fmla="*/ 100 h 100"/>
                <a:gd name="T12" fmla="*/ 50 w 210"/>
                <a:gd name="T13" fmla="*/ 100 h 100"/>
                <a:gd name="T14" fmla="*/ 50 w 210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49" y="0"/>
                  </a:cubicBezTo>
                  <a:cubicBezTo>
                    <a:pt x="49" y="0"/>
                    <a:pt x="79" y="0"/>
                    <a:pt x="160" y="0"/>
                  </a:cubicBezTo>
                  <a:cubicBezTo>
                    <a:pt x="188" y="0"/>
                    <a:pt x="210" y="22"/>
                    <a:pt x="210" y="50"/>
                  </a:cubicBezTo>
                  <a:cubicBezTo>
                    <a:pt x="210" y="78"/>
                    <a:pt x="188" y="100"/>
                    <a:pt x="160" y="100"/>
                  </a:cubicBezTo>
                  <a:cubicBezTo>
                    <a:pt x="79" y="100"/>
                    <a:pt x="50" y="100"/>
                    <a:pt x="50" y="100"/>
                  </a:cubicBezTo>
                  <a:lnTo>
                    <a:pt x="50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663">
              <a:extLst>
                <a:ext uri="{FF2B5EF4-FFF2-40B4-BE49-F238E27FC236}">
                  <a16:creationId xmlns:a16="http://schemas.microsoft.com/office/drawing/2014/main" id="{3B439E28-D488-10B4-76BA-28286FACD7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7826" y="6448425"/>
              <a:ext cx="104775" cy="104775"/>
            </a:xfrm>
            <a:custGeom>
              <a:avLst/>
              <a:gdLst>
                <a:gd name="T0" fmla="*/ 125 w 617"/>
                <a:gd name="T1" fmla="*/ 310 h 618"/>
                <a:gd name="T2" fmla="*/ 316 w 617"/>
                <a:gd name="T3" fmla="*/ 496 h 618"/>
                <a:gd name="T4" fmla="*/ 492 w 617"/>
                <a:gd name="T5" fmla="*/ 307 h 618"/>
                <a:gd name="T6" fmla="*/ 302 w 617"/>
                <a:gd name="T7" fmla="*/ 122 h 618"/>
                <a:gd name="T8" fmla="*/ 125 w 617"/>
                <a:gd name="T9" fmla="*/ 310 h 618"/>
                <a:gd name="T10" fmla="*/ 318 w 617"/>
                <a:gd name="T11" fmla="*/ 618 h 618"/>
                <a:gd name="T12" fmla="*/ 283 w 617"/>
                <a:gd name="T13" fmla="*/ 604 h 618"/>
                <a:gd name="T14" fmla="*/ 20 w 617"/>
                <a:gd name="T15" fmla="*/ 348 h 618"/>
                <a:gd name="T16" fmla="*/ 18 w 617"/>
                <a:gd name="T17" fmla="*/ 278 h 618"/>
                <a:gd name="T18" fmla="*/ 265 w 617"/>
                <a:gd name="T19" fmla="*/ 16 h 618"/>
                <a:gd name="T20" fmla="*/ 300 w 617"/>
                <a:gd name="T21" fmla="*/ 0 h 618"/>
                <a:gd name="T22" fmla="*/ 336 w 617"/>
                <a:gd name="T23" fmla="*/ 15 h 618"/>
                <a:gd name="T24" fmla="*/ 597 w 617"/>
                <a:gd name="T25" fmla="*/ 270 h 618"/>
                <a:gd name="T26" fmla="*/ 599 w 617"/>
                <a:gd name="T27" fmla="*/ 339 h 618"/>
                <a:gd name="T28" fmla="*/ 354 w 617"/>
                <a:gd name="T29" fmla="*/ 602 h 618"/>
                <a:gd name="T30" fmla="*/ 319 w 617"/>
                <a:gd name="T31" fmla="*/ 618 h 618"/>
                <a:gd name="T32" fmla="*/ 318 w 617"/>
                <a:gd name="T33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7" h="618">
                  <a:moveTo>
                    <a:pt x="125" y="310"/>
                  </a:moveTo>
                  <a:lnTo>
                    <a:pt x="316" y="496"/>
                  </a:lnTo>
                  <a:lnTo>
                    <a:pt x="492" y="307"/>
                  </a:lnTo>
                  <a:lnTo>
                    <a:pt x="302" y="122"/>
                  </a:lnTo>
                  <a:lnTo>
                    <a:pt x="125" y="310"/>
                  </a:lnTo>
                  <a:close/>
                  <a:moveTo>
                    <a:pt x="318" y="618"/>
                  </a:moveTo>
                  <a:cubicBezTo>
                    <a:pt x="305" y="618"/>
                    <a:pt x="292" y="613"/>
                    <a:pt x="283" y="604"/>
                  </a:cubicBezTo>
                  <a:lnTo>
                    <a:pt x="20" y="348"/>
                  </a:lnTo>
                  <a:cubicBezTo>
                    <a:pt x="0" y="329"/>
                    <a:pt x="0" y="298"/>
                    <a:pt x="18" y="278"/>
                  </a:cubicBezTo>
                  <a:lnTo>
                    <a:pt x="265" y="16"/>
                  </a:lnTo>
                  <a:cubicBezTo>
                    <a:pt x="274" y="6"/>
                    <a:pt x="287" y="1"/>
                    <a:pt x="300" y="0"/>
                  </a:cubicBezTo>
                  <a:cubicBezTo>
                    <a:pt x="313" y="0"/>
                    <a:pt x="326" y="5"/>
                    <a:pt x="336" y="15"/>
                  </a:cubicBezTo>
                  <a:lnTo>
                    <a:pt x="597" y="270"/>
                  </a:lnTo>
                  <a:cubicBezTo>
                    <a:pt x="616" y="289"/>
                    <a:pt x="617" y="320"/>
                    <a:pt x="599" y="339"/>
                  </a:cubicBezTo>
                  <a:lnTo>
                    <a:pt x="354" y="602"/>
                  </a:lnTo>
                  <a:cubicBezTo>
                    <a:pt x="345" y="612"/>
                    <a:pt x="332" y="618"/>
                    <a:pt x="319" y="618"/>
                  </a:cubicBezTo>
                  <a:lnTo>
                    <a:pt x="318" y="6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664">
              <a:extLst>
                <a:ext uri="{FF2B5EF4-FFF2-40B4-BE49-F238E27FC236}">
                  <a16:creationId xmlns:a16="http://schemas.microsoft.com/office/drawing/2014/main" id="{2280FFC7-149B-CCA6-A99E-F2E90F945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1" y="6383338"/>
              <a:ext cx="15875" cy="26988"/>
            </a:xfrm>
            <a:custGeom>
              <a:avLst/>
              <a:gdLst>
                <a:gd name="T0" fmla="*/ 1 w 101"/>
                <a:gd name="T1" fmla="*/ 162 h 162"/>
                <a:gd name="T2" fmla="*/ 1 w 101"/>
                <a:gd name="T3" fmla="*/ 112 h 162"/>
                <a:gd name="T4" fmla="*/ 0 w 101"/>
                <a:gd name="T5" fmla="*/ 50 h 162"/>
                <a:gd name="T6" fmla="*/ 0 w 101"/>
                <a:gd name="T7" fmla="*/ 0 h 162"/>
                <a:gd name="T8" fmla="*/ 100 w 101"/>
                <a:gd name="T9" fmla="*/ 0 h 162"/>
                <a:gd name="T10" fmla="*/ 100 w 101"/>
                <a:gd name="T11" fmla="*/ 50 h 162"/>
                <a:gd name="T12" fmla="*/ 101 w 101"/>
                <a:gd name="T13" fmla="*/ 110 h 162"/>
                <a:gd name="T14" fmla="*/ 101 w 101"/>
                <a:gd name="T15" fmla="*/ 160 h 162"/>
                <a:gd name="T16" fmla="*/ 1 w 101"/>
                <a:gd name="T1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162">
                  <a:moveTo>
                    <a:pt x="1" y="162"/>
                  </a:moveTo>
                  <a:lnTo>
                    <a:pt x="1" y="112"/>
                  </a:lnTo>
                  <a:cubicBezTo>
                    <a:pt x="1" y="112"/>
                    <a:pt x="0" y="97"/>
                    <a:pt x="0" y="50"/>
                  </a:cubicBezTo>
                  <a:lnTo>
                    <a:pt x="0" y="0"/>
                  </a:lnTo>
                  <a:lnTo>
                    <a:pt x="100" y="0"/>
                  </a:lnTo>
                  <a:lnTo>
                    <a:pt x="100" y="50"/>
                  </a:lnTo>
                  <a:cubicBezTo>
                    <a:pt x="100" y="95"/>
                    <a:pt x="101" y="110"/>
                    <a:pt x="101" y="110"/>
                  </a:cubicBezTo>
                  <a:lnTo>
                    <a:pt x="101" y="160"/>
                  </a:lnTo>
                  <a:lnTo>
                    <a:pt x="1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665">
              <a:extLst>
                <a:ext uri="{FF2B5EF4-FFF2-40B4-BE49-F238E27FC236}">
                  <a16:creationId xmlns:a16="http://schemas.microsoft.com/office/drawing/2014/main" id="{E94D3767-CE46-5D9C-BE51-E35E8D86F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4701" y="6323013"/>
              <a:ext cx="17463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66">
              <a:extLst>
                <a:ext uri="{FF2B5EF4-FFF2-40B4-BE49-F238E27FC236}">
                  <a16:creationId xmlns:a16="http://schemas.microsoft.com/office/drawing/2014/main" id="{ED24DAA5-9E86-5AA3-432D-9351E3852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514" y="6357938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67">
              <a:extLst>
                <a:ext uri="{FF2B5EF4-FFF2-40B4-BE49-F238E27FC236}">
                  <a16:creationId xmlns:a16="http://schemas.microsoft.com/office/drawing/2014/main" id="{95DE9039-B5B7-5644-FA6A-44CE080AC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776" y="6357938"/>
              <a:ext cx="26988" cy="17463"/>
            </a:xfrm>
            <a:custGeom>
              <a:avLst/>
              <a:gdLst>
                <a:gd name="T0" fmla="*/ 0 w 17"/>
                <a:gd name="T1" fmla="*/ 11 h 11"/>
                <a:gd name="T2" fmla="*/ 0 w 17"/>
                <a:gd name="T3" fmla="*/ 0 h 11"/>
                <a:gd name="T4" fmla="*/ 5 w 17"/>
                <a:gd name="T5" fmla="*/ 0 h 11"/>
                <a:gd name="T6" fmla="*/ 12 w 17"/>
                <a:gd name="T7" fmla="*/ 0 h 11"/>
                <a:gd name="T8" fmla="*/ 17 w 17"/>
                <a:gd name="T9" fmla="*/ 0 h 11"/>
                <a:gd name="T10" fmla="*/ 17 w 17"/>
                <a:gd name="T11" fmla="*/ 11 h 11"/>
                <a:gd name="T12" fmla="*/ 12 w 17"/>
                <a:gd name="T13" fmla="*/ 11 h 11"/>
                <a:gd name="T14" fmla="*/ 5 w 17"/>
                <a:gd name="T15" fmla="*/ 11 h 11"/>
                <a:gd name="T16" fmla="*/ 0 w 17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1">
                  <a:moveTo>
                    <a:pt x="0" y="11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17" y="11"/>
                  </a:lnTo>
                  <a:lnTo>
                    <a:pt x="12" y="11"/>
                  </a:lnTo>
                  <a:lnTo>
                    <a:pt x="5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668">
              <a:extLst>
                <a:ext uri="{FF2B5EF4-FFF2-40B4-BE49-F238E27FC236}">
                  <a16:creationId xmlns:a16="http://schemas.microsoft.com/office/drawing/2014/main" id="{A48CF5CA-2881-5F91-53A5-1AF482726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4539" y="6326188"/>
              <a:ext cx="74613" cy="77788"/>
            </a:xfrm>
            <a:custGeom>
              <a:avLst/>
              <a:gdLst>
                <a:gd name="T0" fmla="*/ 140 w 437"/>
                <a:gd name="T1" fmla="*/ 236 h 460"/>
                <a:gd name="T2" fmla="*/ 223 w 437"/>
                <a:gd name="T3" fmla="*/ 317 h 460"/>
                <a:gd name="T4" fmla="*/ 301 w 437"/>
                <a:gd name="T5" fmla="*/ 233 h 460"/>
                <a:gd name="T6" fmla="*/ 224 w 437"/>
                <a:gd name="T7" fmla="*/ 147 h 460"/>
                <a:gd name="T8" fmla="*/ 140 w 437"/>
                <a:gd name="T9" fmla="*/ 236 h 460"/>
                <a:gd name="T10" fmla="*/ 227 w 437"/>
                <a:gd name="T11" fmla="*/ 460 h 460"/>
                <a:gd name="T12" fmla="*/ 0 w 437"/>
                <a:gd name="T13" fmla="*/ 239 h 460"/>
                <a:gd name="T14" fmla="*/ 226 w 437"/>
                <a:gd name="T15" fmla="*/ 0 h 460"/>
                <a:gd name="T16" fmla="*/ 437 w 437"/>
                <a:gd name="T17" fmla="*/ 234 h 460"/>
                <a:gd name="T18" fmla="*/ 227 w 437"/>
                <a:gd name="T19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7" h="460">
                  <a:moveTo>
                    <a:pt x="140" y="236"/>
                  </a:moveTo>
                  <a:lnTo>
                    <a:pt x="223" y="317"/>
                  </a:lnTo>
                  <a:lnTo>
                    <a:pt x="301" y="233"/>
                  </a:lnTo>
                  <a:lnTo>
                    <a:pt x="224" y="147"/>
                  </a:lnTo>
                  <a:lnTo>
                    <a:pt x="140" y="236"/>
                  </a:lnTo>
                  <a:close/>
                  <a:moveTo>
                    <a:pt x="227" y="460"/>
                  </a:moveTo>
                  <a:lnTo>
                    <a:pt x="0" y="239"/>
                  </a:lnTo>
                  <a:lnTo>
                    <a:pt x="226" y="0"/>
                  </a:lnTo>
                  <a:lnTo>
                    <a:pt x="437" y="234"/>
                  </a:lnTo>
                  <a:lnTo>
                    <a:pt x="227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69">
              <a:extLst>
                <a:ext uri="{FF2B5EF4-FFF2-40B4-BE49-F238E27FC236}">
                  <a16:creationId xmlns:a16="http://schemas.microsoft.com/office/drawing/2014/main" id="{59C4304E-EBBD-CFD8-0229-4910DB93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3076" y="6583363"/>
              <a:ext cx="373063" cy="225425"/>
            </a:xfrm>
            <a:custGeom>
              <a:avLst/>
              <a:gdLst>
                <a:gd name="T0" fmla="*/ 100 w 2210"/>
                <a:gd name="T1" fmla="*/ 136 h 1335"/>
                <a:gd name="T2" fmla="*/ 100 w 2210"/>
                <a:gd name="T3" fmla="*/ 1198 h 1335"/>
                <a:gd name="T4" fmla="*/ 1042 w 2210"/>
                <a:gd name="T5" fmla="*/ 647 h 1335"/>
                <a:gd name="T6" fmla="*/ 100 w 2210"/>
                <a:gd name="T7" fmla="*/ 136 h 1335"/>
                <a:gd name="T8" fmla="*/ 235 w 2210"/>
                <a:gd name="T9" fmla="*/ 1235 h 1335"/>
                <a:gd name="T10" fmla="*/ 2110 w 2210"/>
                <a:gd name="T11" fmla="*/ 1235 h 1335"/>
                <a:gd name="T12" fmla="*/ 2110 w 2210"/>
                <a:gd name="T13" fmla="*/ 139 h 1335"/>
                <a:gd name="T14" fmla="*/ 235 w 2210"/>
                <a:gd name="T15" fmla="*/ 1235 h 1335"/>
                <a:gd name="T16" fmla="*/ 50 w 2210"/>
                <a:gd name="T17" fmla="*/ 1335 h 1335"/>
                <a:gd name="T18" fmla="*/ 45 w 2210"/>
                <a:gd name="T19" fmla="*/ 1335 h 1335"/>
                <a:gd name="T20" fmla="*/ 25 w 2210"/>
                <a:gd name="T21" fmla="*/ 1328 h 1335"/>
                <a:gd name="T22" fmla="*/ 9 w 2210"/>
                <a:gd name="T23" fmla="*/ 1314 h 1335"/>
                <a:gd name="T24" fmla="*/ 1 w 2210"/>
                <a:gd name="T25" fmla="*/ 1298 h 1335"/>
                <a:gd name="T26" fmla="*/ 0 w 2210"/>
                <a:gd name="T27" fmla="*/ 1284 h 1335"/>
                <a:gd name="T28" fmla="*/ 0 w 2210"/>
                <a:gd name="T29" fmla="*/ 52 h 1335"/>
                <a:gd name="T30" fmla="*/ 24 w 2210"/>
                <a:gd name="T31" fmla="*/ 9 h 1335"/>
                <a:gd name="T32" fmla="*/ 74 w 2210"/>
                <a:gd name="T33" fmla="*/ 9 h 1335"/>
                <a:gd name="T34" fmla="*/ 1133 w 2210"/>
                <a:gd name="T35" fmla="*/ 583 h 1335"/>
                <a:gd name="T36" fmla="*/ 1142 w 2210"/>
                <a:gd name="T37" fmla="*/ 589 h 1335"/>
                <a:gd name="T38" fmla="*/ 2135 w 2210"/>
                <a:gd name="T39" fmla="*/ 9 h 1335"/>
                <a:gd name="T40" fmla="*/ 2185 w 2210"/>
                <a:gd name="T41" fmla="*/ 9 h 1335"/>
                <a:gd name="T42" fmla="*/ 2210 w 2210"/>
                <a:gd name="T43" fmla="*/ 52 h 1335"/>
                <a:gd name="T44" fmla="*/ 2210 w 2210"/>
                <a:gd name="T45" fmla="*/ 1285 h 1335"/>
                <a:gd name="T46" fmla="*/ 2160 w 2210"/>
                <a:gd name="T47" fmla="*/ 1335 h 1335"/>
                <a:gd name="T48" fmla="*/ 51 w 2210"/>
                <a:gd name="T49" fmla="*/ 1335 h 1335"/>
                <a:gd name="T50" fmla="*/ 50 w 2210"/>
                <a:gd name="T51" fmla="*/ 1335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10" h="1335">
                  <a:moveTo>
                    <a:pt x="100" y="136"/>
                  </a:moveTo>
                  <a:lnTo>
                    <a:pt x="100" y="1198"/>
                  </a:lnTo>
                  <a:lnTo>
                    <a:pt x="1042" y="647"/>
                  </a:lnTo>
                  <a:lnTo>
                    <a:pt x="100" y="136"/>
                  </a:lnTo>
                  <a:close/>
                  <a:moveTo>
                    <a:pt x="235" y="1235"/>
                  </a:moveTo>
                  <a:lnTo>
                    <a:pt x="2110" y="1235"/>
                  </a:lnTo>
                  <a:lnTo>
                    <a:pt x="2110" y="139"/>
                  </a:lnTo>
                  <a:lnTo>
                    <a:pt x="235" y="1235"/>
                  </a:lnTo>
                  <a:close/>
                  <a:moveTo>
                    <a:pt x="50" y="1335"/>
                  </a:moveTo>
                  <a:cubicBezTo>
                    <a:pt x="48" y="1335"/>
                    <a:pt x="47" y="1335"/>
                    <a:pt x="45" y="1335"/>
                  </a:cubicBezTo>
                  <a:cubicBezTo>
                    <a:pt x="38" y="1334"/>
                    <a:pt x="31" y="1332"/>
                    <a:pt x="25" y="1328"/>
                  </a:cubicBezTo>
                  <a:cubicBezTo>
                    <a:pt x="19" y="1325"/>
                    <a:pt x="14" y="1320"/>
                    <a:pt x="9" y="1314"/>
                  </a:cubicBezTo>
                  <a:cubicBezTo>
                    <a:pt x="6" y="1310"/>
                    <a:pt x="3" y="1304"/>
                    <a:pt x="1" y="1298"/>
                  </a:cubicBezTo>
                  <a:cubicBezTo>
                    <a:pt x="0" y="1294"/>
                    <a:pt x="0" y="1289"/>
                    <a:pt x="0" y="1284"/>
                  </a:cubicBezTo>
                  <a:lnTo>
                    <a:pt x="0" y="52"/>
                  </a:lnTo>
                  <a:cubicBezTo>
                    <a:pt x="0" y="35"/>
                    <a:pt x="9" y="19"/>
                    <a:pt x="24" y="9"/>
                  </a:cubicBezTo>
                  <a:cubicBezTo>
                    <a:pt x="39" y="0"/>
                    <a:pt x="58" y="0"/>
                    <a:pt x="74" y="9"/>
                  </a:cubicBezTo>
                  <a:lnTo>
                    <a:pt x="1133" y="583"/>
                  </a:lnTo>
                  <a:cubicBezTo>
                    <a:pt x="1136" y="585"/>
                    <a:pt x="1139" y="587"/>
                    <a:pt x="1142" y="589"/>
                  </a:cubicBezTo>
                  <a:lnTo>
                    <a:pt x="2135" y="9"/>
                  </a:lnTo>
                  <a:cubicBezTo>
                    <a:pt x="2150" y="0"/>
                    <a:pt x="2169" y="0"/>
                    <a:pt x="2185" y="9"/>
                  </a:cubicBezTo>
                  <a:cubicBezTo>
                    <a:pt x="2201" y="18"/>
                    <a:pt x="2210" y="34"/>
                    <a:pt x="2210" y="52"/>
                  </a:cubicBezTo>
                  <a:lnTo>
                    <a:pt x="2210" y="1285"/>
                  </a:lnTo>
                  <a:cubicBezTo>
                    <a:pt x="2210" y="1313"/>
                    <a:pt x="2188" y="1335"/>
                    <a:pt x="2160" y="1335"/>
                  </a:cubicBezTo>
                  <a:lnTo>
                    <a:pt x="51" y="1335"/>
                  </a:lnTo>
                  <a:lnTo>
                    <a:pt x="50" y="13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670">
              <a:extLst>
                <a:ext uri="{FF2B5EF4-FFF2-40B4-BE49-F238E27FC236}">
                  <a16:creationId xmlns:a16="http://schemas.microsoft.com/office/drawing/2014/main" id="{97C22585-1911-B5F4-5EC5-7B507E5DD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601" y="6729413"/>
              <a:ext cx="106363" cy="74613"/>
            </a:xfrm>
            <a:custGeom>
              <a:avLst/>
              <a:gdLst>
                <a:gd name="T0" fmla="*/ 570 w 627"/>
                <a:gd name="T1" fmla="*/ 437 h 437"/>
                <a:gd name="T2" fmla="*/ 543 w 627"/>
                <a:gd name="T3" fmla="*/ 429 h 437"/>
                <a:gd name="T4" fmla="*/ 30 w 627"/>
                <a:gd name="T5" fmla="*/ 100 h 437"/>
                <a:gd name="T6" fmla="*/ 14 w 627"/>
                <a:gd name="T7" fmla="*/ 31 h 437"/>
                <a:gd name="T8" fmla="*/ 83 w 627"/>
                <a:gd name="T9" fmla="*/ 15 h 437"/>
                <a:gd name="T10" fmla="*/ 598 w 627"/>
                <a:gd name="T11" fmla="*/ 345 h 437"/>
                <a:gd name="T12" fmla="*/ 612 w 627"/>
                <a:gd name="T13" fmla="*/ 414 h 437"/>
                <a:gd name="T14" fmla="*/ 570 w 627"/>
                <a:gd name="T15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7" h="437">
                  <a:moveTo>
                    <a:pt x="570" y="437"/>
                  </a:moveTo>
                  <a:cubicBezTo>
                    <a:pt x="561" y="437"/>
                    <a:pt x="552" y="434"/>
                    <a:pt x="543" y="429"/>
                  </a:cubicBezTo>
                  <a:cubicBezTo>
                    <a:pt x="540" y="427"/>
                    <a:pt x="265" y="247"/>
                    <a:pt x="30" y="100"/>
                  </a:cubicBezTo>
                  <a:cubicBezTo>
                    <a:pt x="7" y="85"/>
                    <a:pt x="0" y="54"/>
                    <a:pt x="14" y="31"/>
                  </a:cubicBezTo>
                  <a:cubicBezTo>
                    <a:pt x="29" y="7"/>
                    <a:pt x="60" y="0"/>
                    <a:pt x="83" y="15"/>
                  </a:cubicBezTo>
                  <a:cubicBezTo>
                    <a:pt x="319" y="163"/>
                    <a:pt x="595" y="343"/>
                    <a:pt x="598" y="345"/>
                  </a:cubicBezTo>
                  <a:cubicBezTo>
                    <a:pt x="621" y="360"/>
                    <a:pt x="627" y="391"/>
                    <a:pt x="612" y="414"/>
                  </a:cubicBezTo>
                  <a:cubicBezTo>
                    <a:pt x="603" y="429"/>
                    <a:pt x="587" y="437"/>
                    <a:pt x="570" y="4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671">
              <a:extLst>
                <a:ext uri="{FF2B5EF4-FFF2-40B4-BE49-F238E27FC236}">
                  <a16:creationId xmlns:a16="http://schemas.microsoft.com/office/drawing/2014/main" id="{085318AF-427A-F843-1E07-757F1DCA5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6715125"/>
              <a:ext cx="20638" cy="19050"/>
            </a:xfrm>
            <a:custGeom>
              <a:avLst/>
              <a:gdLst>
                <a:gd name="T0" fmla="*/ 68 w 125"/>
                <a:gd name="T1" fmla="*/ 113 h 113"/>
                <a:gd name="T2" fmla="*/ 41 w 125"/>
                <a:gd name="T3" fmla="*/ 106 h 113"/>
                <a:gd name="T4" fmla="*/ 31 w 125"/>
                <a:gd name="T5" fmla="*/ 99 h 113"/>
                <a:gd name="T6" fmla="*/ 15 w 125"/>
                <a:gd name="T7" fmla="*/ 30 h 113"/>
                <a:gd name="T8" fmla="*/ 83 w 125"/>
                <a:gd name="T9" fmla="*/ 14 h 113"/>
                <a:gd name="T10" fmla="*/ 94 w 125"/>
                <a:gd name="T11" fmla="*/ 21 h 113"/>
                <a:gd name="T12" fmla="*/ 110 w 125"/>
                <a:gd name="T13" fmla="*/ 89 h 113"/>
                <a:gd name="T14" fmla="*/ 68 w 125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13">
                  <a:moveTo>
                    <a:pt x="68" y="113"/>
                  </a:moveTo>
                  <a:cubicBezTo>
                    <a:pt x="59" y="113"/>
                    <a:pt x="50" y="111"/>
                    <a:pt x="41" y="106"/>
                  </a:cubicBezTo>
                  <a:lnTo>
                    <a:pt x="31" y="99"/>
                  </a:lnTo>
                  <a:cubicBezTo>
                    <a:pt x="7" y="85"/>
                    <a:pt x="0" y="54"/>
                    <a:pt x="15" y="30"/>
                  </a:cubicBezTo>
                  <a:cubicBezTo>
                    <a:pt x="29" y="7"/>
                    <a:pt x="60" y="0"/>
                    <a:pt x="83" y="14"/>
                  </a:cubicBezTo>
                  <a:lnTo>
                    <a:pt x="94" y="21"/>
                  </a:lnTo>
                  <a:cubicBezTo>
                    <a:pt x="117" y="35"/>
                    <a:pt x="125" y="66"/>
                    <a:pt x="110" y="89"/>
                  </a:cubicBezTo>
                  <a:cubicBezTo>
                    <a:pt x="101" y="105"/>
                    <a:pt x="84" y="113"/>
                    <a:pt x="68" y="1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672">
              <a:extLst>
                <a:ext uri="{FF2B5EF4-FFF2-40B4-BE49-F238E27FC236}">
                  <a16:creationId xmlns:a16="http://schemas.microsoft.com/office/drawing/2014/main" id="{3FB41820-B6CE-7937-97C0-28E16CE33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1" y="6702425"/>
              <a:ext cx="20638" cy="19050"/>
            </a:xfrm>
            <a:custGeom>
              <a:avLst/>
              <a:gdLst>
                <a:gd name="T0" fmla="*/ 67 w 124"/>
                <a:gd name="T1" fmla="*/ 114 h 114"/>
                <a:gd name="T2" fmla="*/ 41 w 124"/>
                <a:gd name="T3" fmla="*/ 106 h 114"/>
                <a:gd name="T4" fmla="*/ 31 w 124"/>
                <a:gd name="T5" fmla="*/ 100 h 114"/>
                <a:gd name="T6" fmla="*/ 14 w 124"/>
                <a:gd name="T7" fmla="*/ 31 h 114"/>
                <a:gd name="T8" fmla="*/ 83 w 124"/>
                <a:gd name="T9" fmla="*/ 15 h 114"/>
                <a:gd name="T10" fmla="*/ 94 w 124"/>
                <a:gd name="T11" fmla="*/ 21 h 114"/>
                <a:gd name="T12" fmla="*/ 110 w 124"/>
                <a:gd name="T13" fmla="*/ 90 h 114"/>
                <a:gd name="T14" fmla="*/ 67 w 12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14">
                  <a:moveTo>
                    <a:pt x="67" y="114"/>
                  </a:moveTo>
                  <a:cubicBezTo>
                    <a:pt x="58" y="114"/>
                    <a:pt x="49" y="111"/>
                    <a:pt x="41" y="106"/>
                  </a:cubicBezTo>
                  <a:lnTo>
                    <a:pt x="31" y="100"/>
                  </a:lnTo>
                  <a:cubicBezTo>
                    <a:pt x="7" y="85"/>
                    <a:pt x="0" y="55"/>
                    <a:pt x="14" y="31"/>
                  </a:cubicBezTo>
                  <a:cubicBezTo>
                    <a:pt x="29" y="8"/>
                    <a:pt x="60" y="0"/>
                    <a:pt x="83" y="15"/>
                  </a:cubicBezTo>
                  <a:lnTo>
                    <a:pt x="94" y="21"/>
                  </a:lnTo>
                  <a:cubicBezTo>
                    <a:pt x="117" y="36"/>
                    <a:pt x="124" y="66"/>
                    <a:pt x="110" y="90"/>
                  </a:cubicBezTo>
                  <a:cubicBezTo>
                    <a:pt x="101" y="105"/>
                    <a:pt x="84" y="114"/>
                    <a:pt x="67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673">
              <a:extLst>
                <a:ext uri="{FF2B5EF4-FFF2-40B4-BE49-F238E27FC236}">
                  <a16:creationId xmlns:a16="http://schemas.microsoft.com/office/drawing/2014/main" id="{EA0B6D68-0FC0-55A4-0FE6-152639094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51" y="6554788"/>
              <a:ext cx="55563" cy="42863"/>
            </a:xfrm>
            <a:custGeom>
              <a:avLst/>
              <a:gdLst>
                <a:gd name="T0" fmla="*/ 57 w 330"/>
                <a:gd name="T1" fmla="*/ 257 h 257"/>
                <a:gd name="T2" fmla="*/ 16 w 330"/>
                <a:gd name="T3" fmla="*/ 235 h 257"/>
                <a:gd name="T4" fmla="*/ 29 w 330"/>
                <a:gd name="T5" fmla="*/ 166 h 257"/>
                <a:gd name="T6" fmla="*/ 245 w 330"/>
                <a:gd name="T7" fmla="*/ 16 h 257"/>
                <a:gd name="T8" fmla="*/ 314 w 330"/>
                <a:gd name="T9" fmla="*/ 29 h 257"/>
                <a:gd name="T10" fmla="*/ 302 w 330"/>
                <a:gd name="T11" fmla="*/ 98 h 257"/>
                <a:gd name="T12" fmla="*/ 86 w 330"/>
                <a:gd name="T13" fmla="*/ 248 h 257"/>
                <a:gd name="T14" fmla="*/ 57 w 330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0" h="257">
                  <a:moveTo>
                    <a:pt x="57" y="257"/>
                  </a:moveTo>
                  <a:cubicBezTo>
                    <a:pt x="41" y="257"/>
                    <a:pt x="26" y="249"/>
                    <a:pt x="16" y="235"/>
                  </a:cubicBezTo>
                  <a:cubicBezTo>
                    <a:pt x="0" y="213"/>
                    <a:pt x="6" y="182"/>
                    <a:pt x="29" y="166"/>
                  </a:cubicBezTo>
                  <a:lnTo>
                    <a:pt x="245" y="16"/>
                  </a:lnTo>
                  <a:cubicBezTo>
                    <a:pt x="267" y="0"/>
                    <a:pt x="298" y="6"/>
                    <a:pt x="314" y="29"/>
                  </a:cubicBezTo>
                  <a:cubicBezTo>
                    <a:pt x="330" y="51"/>
                    <a:pt x="324" y="82"/>
                    <a:pt x="302" y="98"/>
                  </a:cubicBezTo>
                  <a:lnTo>
                    <a:pt x="86" y="248"/>
                  </a:lnTo>
                  <a:cubicBezTo>
                    <a:pt x="77" y="254"/>
                    <a:pt x="67" y="257"/>
                    <a:pt x="57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674">
              <a:extLst>
                <a:ext uri="{FF2B5EF4-FFF2-40B4-BE49-F238E27FC236}">
                  <a16:creationId xmlns:a16="http://schemas.microsoft.com/office/drawing/2014/main" id="{DC08C0E2-E657-228F-B611-56A5BA75C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6440488"/>
              <a:ext cx="293688" cy="139700"/>
            </a:xfrm>
            <a:custGeom>
              <a:avLst/>
              <a:gdLst>
                <a:gd name="T0" fmla="*/ 11 w 185"/>
                <a:gd name="T1" fmla="*/ 88 h 88"/>
                <a:gd name="T2" fmla="*/ 0 w 185"/>
                <a:gd name="T3" fmla="*/ 88 h 88"/>
                <a:gd name="T4" fmla="*/ 0 w 185"/>
                <a:gd name="T5" fmla="*/ 0 h 88"/>
                <a:gd name="T6" fmla="*/ 185 w 185"/>
                <a:gd name="T7" fmla="*/ 0 h 88"/>
                <a:gd name="T8" fmla="*/ 185 w 185"/>
                <a:gd name="T9" fmla="*/ 86 h 88"/>
                <a:gd name="T10" fmla="*/ 175 w 185"/>
                <a:gd name="T11" fmla="*/ 86 h 88"/>
                <a:gd name="T12" fmla="*/ 175 w 185"/>
                <a:gd name="T13" fmla="*/ 11 h 88"/>
                <a:gd name="T14" fmla="*/ 11 w 185"/>
                <a:gd name="T15" fmla="*/ 11 h 88"/>
                <a:gd name="T16" fmla="*/ 11 w 185"/>
                <a:gd name="T1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88">
                  <a:moveTo>
                    <a:pt x="11" y="88"/>
                  </a:moveTo>
                  <a:lnTo>
                    <a:pt x="0" y="88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86"/>
                  </a:lnTo>
                  <a:lnTo>
                    <a:pt x="175" y="86"/>
                  </a:lnTo>
                  <a:lnTo>
                    <a:pt x="175" y="11"/>
                  </a:lnTo>
                  <a:lnTo>
                    <a:pt x="11" y="11"/>
                  </a:lnTo>
                  <a:lnTo>
                    <a:pt x="1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675">
              <a:extLst>
                <a:ext uri="{FF2B5EF4-FFF2-40B4-BE49-F238E27FC236}">
                  <a16:creationId xmlns:a16="http://schemas.microsoft.com/office/drawing/2014/main" id="{8E4C818E-3782-A306-B899-0485476EE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76" y="6554788"/>
              <a:ext cx="53975" cy="42863"/>
            </a:xfrm>
            <a:custGeom>
              <a:avLst/>
              <a:gdLst>
                <a:gd name="T0" fmla="*/ 266 w 322"/>
                <a:gd name="T1" fmla="*/ 257 h 257"/>
                <a:gd name="T2" fmla="*/ 237 w 322"/>
                <a:gd name="T3" fmla="*/ 248 h 257"/>
                <a:gd name="T4" fmla="*/ 28 w 322"/>
                <a:gd name="T5" fmla="*/ 98 h 257"/>
                <a:gd name="T6" fmla="*/ 16 w 322"/>
                <a:gd name="T7" fmla="*/ 28 h 257"/>
                <a:gd name="T8" fmla="*/ 86 w 322"/>
                <a:gd name="T9" fmla="*/ 17 h 257"/>
                <a:gd name="T10" fmla="*/ 295 w 322"/>
                <a:gd name="T11" fmla="*/ 166 h 257"/>
                <a:gd name="T12" fmla="*/ 306 w 322"/>
                <a:gd name="T13" fmla="*/ 236 h 257"/>
                <a:gd name="T14" fmla="*/ 266 w 322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2" h="257">
                  <a:moveTo>
                    <a:pt x="266" y="257"/>
                  </a:moveTo>
                  <a:cubicBezTo>
                    <a:pt x="256" y="257"/>
                    <a:pt x="245" y="254"/>
                    <a:pt x="237" y="248"/>
                  </a:cubicBezTo>
                  <a:lnTo>
                    <a:pt x="28" y="98"/>
                  </a:lnTo>
                  <a:cubicBezTo>
                    <a:pt x="5" y="82"/>
                    <a:pt x="0" y="50"/>
                    <a:pt x="16" y="28"/>
                  </a:cubicBezTo>
                  <a:cubicBezTo>
                    <a:pt x="32" y="6"/>
                    <a:pt x="63" y="0"/>
                    <a:pt x="86" y="17"/>
                  </a:cubicBezTo>
                  <a:lnTo>
                    <a:pt x="295" y="166"/>
                  </a:lnTo>
                  <a:cubicBezTo>
                    <a:pt x="317" y="182"/>
                    <a:pt x="322" y="214"/>
                    <a:pt x="306" y="236"/>
                  </a:cubicBezTo>
                  <a:cubicBezTo>
                    <a:pt x="297" y="250"/>
                    <a:pt x="281" y="257"/>
                    <a:pt x="266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676">
              <a:extLst>
                <a:ext uri="{FF2B5EF4-FFF2-40B4-BE49-F238E27FC236}">
                  <a16:creationId xmlns:a16="http://schemas.microsoft.com/office/drawing/2014/main" id="{1778AD83-7910-6EAE-B8F2-44D5B0BA40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1" y="6592888"/>
              <a:ext cx="1746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7">
              <a:extLst>
                <a:ext uri="{FF2B5EF4-FFF2-40B4-BE49-F238E27FC236}">
                  <a16:creationId xmlns:a16="http://schemas.microsoft.com/office/drawing/2014/main" id="{E8112C4B-BEFE-0E1C-C6A8-939C7302B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4" y="6589713"/>
              <a:ext cx="15875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678">
              <a:extLst>
                <a:ext uri="{FF2B5EF4-FFF2-40B4-BE49-F238E27FC236}">
                  <a16:creationId xmlns:a16="http://schemas.microsoft.com/office/drawing/2014/main" id="{E2E56B18-7F94-95CF-8E34-79BC40C5B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9" y="6496050"/>
              <a:ext cx="120650" cy="120650"/>
            </a:xfrm>
            <a:custGeom>
              <a:avLst/>
              <a:gdLst>
                <a:gd name="T0" fmla="*/ 358 w 716"/>
                <a:gd name="T1" fmla="*/ 716 h 716"/>
                <a:gd name="T2" fmla="*/ 0 w 716"/>
                <a:gd name="T3" fmla="*/ 358 h 716"/>
                <a:gd name="T4" fmla="*/ 358 w 716"/>
                <a:gd name="T5" fmla="*/ 0 h 716"/>
                <a:gd name="T6" fmla="*/ 444 w 716"/>
                <a:gd name="T7" fmla="*/ 10 h 716"/>
                <a:gd name="T8" fmla="*/ 480 w 716"/>
                <a:gd name="T9" fmla="*/ 71 h 716"/>
                <a:gd name="T10" fmla="*/ 420 w 716"/>
                <a:gd name="T11" fmla="*/ 107 h 716"/>
                <a:gd name="T12" fmla="*/ 358 w 716"/>
                <a:gd name="T13" fmla="*/ 100 h 716"/>
                <a:gd name="T14" fmla="*/ 100 w 716"/>
                <a:gd name="T15" fmla="*/ 358 h 716"/>
                <a:gd name="T16" fmla="*/ 358 w 716"/>
                <a:gd name="T17" fmla="*/ 616 h 716"/>
                <a:gd name="T18" fmla="*/ 616 w 716"/>
                <a:gd name="T19" fmla="*/ 358 h 716"/>
                <a:gd name="T20" fmla="*/ 570 w 716"/>
                <a:gd name="T21" fmla="*/ 210 h 716"/>
                <a:gd name="T22" fmla="*/ 582 w 716"/>
                <a:gd name="T23" fmla="*/ 140 h 716"/>
                <a:gd name="T24" fmla="*/ 652 w 716"/>
                <a:gd name="T25" fmla="*/ 153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161" y="716"/>
                    <a:pt x="0" y="555"/>
                    <a:pt x="0" y="358"/>
                  </a:cubicBezTo>
                  <a:cubicBezTo>
                    <a:pt x="0" y="160"/>
                    <a:pt x="161" y="0"/>
                    <a:pt x="358" y="0"/>
                  </a:cubicBezTo>
                  <a:cubicBezTo>
                    <a:pt x="387" y="0"/>
                    <a:pt x="416" y="3"/>
                    <a:pt x="444" y="10"/>
                  </a:cubicBezTo>
                  <a:cubicBezTo>
                    <a:pt x="470" y="17"/>
                    <a:pt x="487" y="44"/>
                    <a:pt x="480" y="71"/>
                  </a:cubicBezTo>
                  <a:cubicBezTo>
                    <a:pt x="474" y="97"/>
                    <a:pt x="447" y="114"/>
                    <a:pt x="420" y="107"/>
                  </a:cubicBezTo>
                  <a:cubicBezTo>
                    <a:pt x="400" y="102"/>
                    <a:pt x="379" y="100"/>
                    <a:pt x="358" y="100"/>
                  </a:cubicBezTo>
                  <a:cubicBezTo>
                    <a:pt x="216" y="100"/>
                    <a:pt x="100" y="216"/>
                    <a:pt x="100" y="358"/>
                  </a:cubicBezTo>
                  <a:cubicBezTo>
                    <a:pt x="100" y="500"/>
                    <a:pt x="216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305"/>
                    <a:pt x="600" y="253"/>
                    <a:pt x="570" y="210"/>
                  </a:cubicBezTo>
                  <a:cubicBezTo>
                    <a:pt x="554" y="187"/>
                    <a:pt x="559" y="156"/>
                    <a:pt x="582" y="140"/>
                  </a:cubicBezTo>
                  <a:cubicBezTo>
                    <a:pt x="605" y="125"/>
                    <a:pt x="636" y="130"/>
                    <a:pt x="652" y="153"/>
                  </a:cubicBezTo>
                  <a:cubicBezTo>
                    <a:pt x="694" y="213"/>
                    <a:pt x="716" y="284"/>
                    <a:pt x="716" y="358"/>
                  </a:cubicBezTo>
                  <a:cubicBezTo>
                    <a:pt x="716" y="555"/>
                    <a:pt x="556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679">
              <a:extLst>
                <a:ext uri="{FF2B5EF4-FFF2-40B4-BE49-F238E27FC236}">
                  <a16:creationId xmlns:a16="http://schemas.microsoft.com/office/drawing/2014/main" id="{51A516DC-B08A-8AEE-6641-33A55330C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064" y="6496050"/>
              <a:ext cx="120650" cy="120650"/>
            </a:xfrm>
            <a:custGeom>
              <a:avLst/>
              <a:gdLst>
                <a:gd name="T0" fmla="*/ 358 w 716"/>
                <a:gd name="T1" fmla="*/ 716 h 716"/>
                <a:gd name="T2" fmla="*/ 337 w 716"/>
                <a:gd name="T3" fmla="*/ 715 h 716"/>
                <a:gd name="T4" fmla="*/ 290 w 716"/>
                <a:gd name="T5" fmla="*/ 662 h 716"/>
                <a:gd name="T6" fmla="*/ 343 w 716"/>
                <a:gd name="T7" fmla="*/ 615 h 716"/>
                <a:gd name="T8" fmla="*/ 358 w 716"/>
                <a:gd name="T9" fmla="*/ 616 h 716"/>
                <a:gd name="T10" fmla="*/ 616 w 716"/>
                <a:gd name="T11" fmla="*/ 358 h 716"/>
                <a:gd name="T12" fmla="*/ 358 w 716"/>
                <a:gd name="T13" fmla="*/ 100 h 716"/>
                <a:gd name="T14" fmla="*/ 100 w 716"/>
                <a:gd name="T15" fmla="*/ 358 h 716"/>
                <a:gd name="T16" fmla="*/ 199 w 716"/>
                <a:gd name="T17" fmla="*/ 561 h 716"/>
                <a:gd name="T18" fmla="*/ 208 w 716"/>
                <a:gd name="T19" fmla="*/ 632 h 716"/>
                <a:gd name="T20" fmla="*/ 138 w 716"/>
                <a:gd name="T21" fmla="*/ 640 h 716"/>
                <a:gd name="T22" fmla="*/ 0 w 716"/>
                <a:gd name="T23" fmla="*/ 358 h 716"/>
                <a:gd name="T24" fmla="*/ 358 w 716"/>
                <a:gd name="T25" fmla="*/ 0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351" y="716"/>
                    <a:pt x="344" y="716"/>
                    <a:pt x="337" y="715"/>
                  </a:cubicBezTo>
                  <a:cubicBezTo>
                    <a:pt x="310" y="714"/>
                    <a:pt x="289" y="690"/>
                    <a:pt x="290" y="662"/>
                  </a:cubicBezTo>
                  <a:cubicBezTo>
                    <a:pt x="292" y="635"/>
                    <a:pt x="315" y="614"/>
                    <a:pt x="343" y="615"/>
                  </a:cubicBezTo>
                  <a:cubicBezTo>
                    <a:pt x="348" y="616"/>
                    <a:pt x="353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216"/>
                    <a:pt x="500" y="100"/>
                    <a:pt x="358" y="100"/>
                  </a:cubicBezTo>
                  <a:cubicBezTo>
                    <a:pt x="215" y="100"/>
                    <a:pt x="100" y="216"/>
                    <a:pt x="100" y="358"/>
                  </a:cubicBezTo>
                  <a:cubicBezTo>
                    <a:pt x="100" y="438"/>
                    <a:pt x="136" y="512"/>
                    <a:pt x="199" y="561"/>
                  </a:cubicBezTo>
                  <a:cubicBezTo>
                    <a:pt x="221" y="579"/>
                    <a:pt x="225" y="610"/>
                    <a:pt x="208" y="632"/>
                  </a:cubicBezTo>
                  <a:cubicBezTo>
                    <a:pt x="191" y="653"/>
                    <a:pt x="159" y="657"/>
                    <a:pt x="138" y="640"/>
                  </a:cubicBezTo>
                  <a:cubicBezTo>
                    <a:pt x="50" y="572"/>
                    <a:pt x="0" y="469"/>
                    <a:pt x="0" y="358"/>
                  </a:cubicBezTo>
                  <a:cubicBezTo>
                    <a:pt x="0" y="160"/>
                    <a:pt x="160" y="0"/>
                    <a:pt x="358" y="0"/>
                  </a:cubicBezTo>
                  <a:cubicBezTo>
                    <a:pt x="555" y="0"/>
                    <a:pt x="716" y="160"/>
                    <a:pt x="716" y="358"/>
                  </a:cubicBezTo>
                  <a:cubicBezTo>
                    <a:pt x="716" y="555"/>
                    <a:pt x="555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80">
              <a:extLst>
                <a:ext uri="{FF2B5EF4-FFF2-40B4-BE49-F238E27FC236}">
                  <a16:creationId xmlns:a16="http://schemas.microsoft.com/office/drawing/2014/main" id="{CBE71B44-9C28-2900-3F1E-CBA3659E3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889" y="6354763"/>
              <a:ext cx="1746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81">
              <a:extLst>
                <a:ext uri="{FF2B5EF4-FFF2-40B4-BE49-F238E27FC236}">
                  <a16:creationId xmlns:a16="http://schemas.microsoft.com/office/drawing/2014/main" id="{F74E11CE-0060-955A-4DF6-49A7B0DA8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889" y="6394450"/>
              <a:ext cx="1746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682">
              <a:extLst>
                <a:ext uri="{FF2B5EF4-FFF2-40B4-BE49-F238E27FC236}">
                  <a16:creationId xmlns:a16="http://schemas.microsoft.com/office/drawing/2014/main" id="{5B7ADC02-1FE2-6FDC-9F97-437EAC2FF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4664" y="6378575"/>
              <a:ext cx="222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683">
              <a:extLst>
                <a:ext uri="{FF2B5EF4-FFF2-40B4-BE49-F238E27FC236}">
                  <a16:creationId xmlns:a16="http://schemas.microsoft.com/office/drawing/2014/main" id="{F1BEB378-9AFE-1ECE-54C9-EA39BD618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1" y="6378575"/>
              <a:ext cx="222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684">
              <a:extLst>
                <a:ext uri="{FF2B5EF4-FFF2-40B4-BE49-F238E27FC236}">
                  <a16:creationId xmlns:a16="http://schemas.microsoft.com/office/drawing/2014/main" id="{32FA4C11-31AB-D2BB-A095-74C53C0A0A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9" y="6448425"/>
              <a:ext cx="158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685">
              <a:extLst>
                <a:ext uri="{FF2B5EF4-FFF2-40B4-BE49-F238E27FC236}">
                  <a16:creationId xmlns:a16="http://schemas.microsoft.com/office/drawing/2014/main" id="{25A9B610-36C6-CA62-E6AA-B19A3D10E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9" y="6488113"/>
              <a:ext cx="158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686">
              <a:extLst>
                <a:ext uri="{FF2B5EF4-FFF2-40B4-BE49-F238E27FC236}">
                  <a16:creationId xmlns:a16="http://schemas.microsoft.com/office/drawing/2014/main" id="{AFB52767-9384-037D-A4D1-DC7222BC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4076" y="6470650"/>
              <a:ext cx="2381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687">
              <a:extLst>
                <a:ext uri="{FF2B5EF4-FFF2-40B4-BE49-F238E27FC236}">
                  <a16:creationId xmlns:a16="http://schemas.microsoft.com/office/drawing/2014/main" id="{8D8B8F7E-9910-5583-BAC0-B7F1273B9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3764" y="6470650"/>
              <a:ext cx="222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CFBF61A3-802A-7785-96F2-A9FBBD45E352}"/>
              </a:ext>
            </a:extLst>
          </p:cNvPr>
          <p:cNvSpPr txBox="1"/>
          <p:nvPr/>
        </p:nvSpPr>
        <p:spPr>
          <a:xfrm>
            <a:off x="9269515" y="3826990"/>
            <a:ext cx="13812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800" b="1" dirty="0">
                <a:latin typeface="Century Gothic"/>
              </a:rPr>
              <a:t>95</a:t>
            </a:r>
            <a:r>
              <a:rPr lang="en-GB" sz="48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8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D99988-CF73-AE87-86D6-BA8B31434228}"/>
              </a:ext>
            </a:extLst>
          </p:cNvPr>
          <p:cNvSpPr txBox="1"/>
          <p:nvPr/>
        </p:nvSpPr>
        <p:spPr>
          <a:xfrm>
            <a:off x="7505954" y="4939002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latin typeface="+mj-lt"/>
              </a:rPr>
              <a:t>Engagemen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F25A81E-E624-3CF5-86B7-18D0EC371DAB}"/>
              </a:ext>
            </a:extLst>
          </p:cNvPr>
          <p:cNvSpPr txBox="1"/>
          <p:nvPr/>
        </p:nvSpPr>
        <p:spPr>
          <a:xfrm>
            <a:off x="6805203" y="5431879"/>
            <a:ext cx="34655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ny physical action taken with mail</a:t>
            </a:r>
          </a:p>
        </p:txBody>
      </p:sp>
      <p:grpSp>
        <p:nvGrpSpPr>
          <p:cNvPr id="39" name="Graphic 3" descr="Wedding rings outline">
            <a:extLst>
              <a:ext uri="{FF2B5EF4-FFF2-40B4-BE49-F238E27FC236}">
                <a16:creationId xmlns:a16="http://schemas.microsoft.com/office/drawing/2014/main" id="{DBB9B5D5-A29A-49D4-7612-F0590F8701E6}"/>
              </a:ext>
            </a:extLst>
          </p:cNvPr>
          <p:cNvGrpSpPr/>
          <p:nvPr/>
        </p:nvGrpSpPr>
        <p:grpSpPr>
          <a:xfrm>
            <a:off x="10044854" y="1847611"/>
            <a:ext cx="1204872" cy="998322"/>
            <a:chOff x="2262927" y="3885649"/>
            <a:chExt cx="747283" cy="619177"/>
          </a:xfrm>
          <a:solidFill>
            <a:srgbClr val="000000"/>
          </a:solidFill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8410EDF-5E27-96E4-6CAE-9DC8D2CFC19C}"/>
                </a:ext>
              </a:extLst>
            </p:cNvPr>
            <p:cNvSpPr/>
            <p:nvPr/>
          </p:nvSpPr>
          <p:spPr>
            <a:xfrm>
              <a:off x="2262927" y="4028492"/>
              <a:ext cx="476314" cy="476334"/>
            </a:xfrm>
            <a:custGeom>
              <a:avLst/>
              <a:gdLst>
                <a:gd name="connsiteX0" fmla="*/ 476314 w 476314"/>
                <a:gd name="connsiteY0" fmla="*/ 238157 h 476334"/>
                <a:gd name="connsiteX1" fmla="*/ 441358 w 476314"/>
                <a:gd name="connsiteY1" fmla="*/ 113894 h 476334"/>
                <a:gd name="connsiteX2" fmla="*/ 410020 w 476314"/>
                <a:gd name="connsiteY2" fmla="*/ 75794 h 476334"/>
                <a:gd name="connsiteX3" fmla="*/ 393952 w 476314"/>
                <a:gd name="connsiteY3" fmla="*/ 86786 h 476334"/>
                <a:gd name="connsiteX4" fmla="*/ 396123 w 476314"/>
                <a:gd name="connsiteY4" fmla="*/ 88834 h 476334"/>
                <a:gd name="connsiteX5" fmla="*/ 425117 w 476314"/>
                <a:gd name="connsiteY5" fmla="*/ 123857 h 476334"/>
                <a:gd name="connsiteX6" fmla="*/ 352354 w 476314"/>
                <a:gd name="connsiteY6" fmla="*/ 424595 h 476334"/>
                <a:gd name="connsiteX7" fmla="*/ 51617 w 476314"/>
                <a:gd name="connsiteY7" fmla="*/ 351831 h 476334"/>
                <a:gd name="connsiteX8" fmla="*/ 124380 w 476314"/>
                <a:gd name="connsiteY8" fmla="*/ 51094 h 476334"/>
                <a:gd name="connsiteX9" fmla="*/ 331172 w 476314"/>
                <a:gd name="connsiteY9" fmla="*/ 39713 h 476334"/>
                <a:gd name="connsiteX10" fmla="*/ 347022 w 476314"/>
                <a:gd name="connsiteY10" fmla="*/ 26578 h 476334"/>
                <a:gd name="connsiteX11" fmla="*/ 26602 w 476314"/>
                <a:gd name="connsiteY11" fmla="*/ 128703 h 476334"/>
                <a:gd name="connsiteX12" fmla="*/ 550 w 476314"/>
                <a:gd name="connsiteY12" fmla="*/ 222793 h 476334"/>
                <a:gd name="connsiteX13" fmla="*/ 64558 w 476314"/>
                <a:gd name="connsiteY13" fmla="*/ 401168 h 476334"/>
                <a:gd name="connsiteX14" fmla="*/ 401149 w 476314"/>
                <a:gd name="connsiteY14" fmla="*/ 411840 h 476334"/>
                <a:gd name="connsiteX15" fmla="*/ 476314 w 476314"/>
                <a:gd name="connsiteY15" fmla="*/ 238157 h 47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6314" h="476334">
                  <a:moveTo>
                    <a:pt x="476314" y="238157"/>
                  </a:moveTo>
                  <a:cubicBezTo>
                    <a:pt x="476352" y="194304"/>
                    <a:pt x="464253" y="151296"/>
                    <a:pt x="441358" y="113894"/>
                  </a:cubicBezTo>
                  <a:cubicBezTo>
                    <a:pt x="432612" y="99886"/>
                    <a:pt x="422077" y="87078"/>
                    <a:pt x="410020" y="75794"/>
                  </a:cubicBezTo>
                  <a:cubicBezTo>
                    <a:pt x="404481" y="79183"/>
                    <a:pt x="399118" y="82852"/>
                    <a:pt x="393952" y="86786"/>
                  </a:cubicBezTo>
                  <a:lnTo>
                    <a:pt x="396123" y="88834"/>
                  </a:lnTo>
                  <a:cubicBezTo>
                    <a:pt x="407303" y="99166"/>
                    <a:pt x="417054" y="110945"/>
                    <a:pt x="425117" y="123857"/>
                  </a:cubicBezTo>
                  <a:cubicBezTo>
                    <a:pt x="488071" y="226997"/>
                    <a:pt x="455494" y="361641"/>
                    <a:pt x="352354" y="424595"/>
                  </a:cubicBezTo>
                  <a:cubicBezTo>
                    <a:pt x="249216" y="487548"/>
                    <a:pt x="114570" y="454971"/>
                    <a:pt x="51617" y="351831"/>
                  </a:cubicBezTo>
                  <a:cubicBezTo>
                    <a:pt x="-11336" y="248693"/>
                    <a:pt x="21240" y="114047"/>
                    <a:pt x="124380" y="51094"/>
                  </a:cubicBezTo>
                  <a:cubicBezTo>
                    <a:pt x="187037" y="12850"/>
                    <a:pt x="264697" y="8576"/>
                    <a:pt x="331172" y="39713"/>
                  </a:cubicBezTo>
                  <a:cubicBezTo>
                    <a:pt x="336252" y="35134"/>
                    <a:pt x="341536" y="30757"/>
                    <a:pt x="347022" y="26578"/>
                  </a:cubicBezTo>
                  <a:cubicBezTo>
                    <a:pt x="230340" y="-33703"/>
                    <a:pt x="86882" y="12020"/>
                    <a:pt x="26602" y="128703"/>
                  </a:cubicBezTo>
                  <a:cubicBezTo>
                    <a:pt x="11504" y="157927"/>
                    <a:pt x="2633" y="189965"/>
                    <a:pt x="550" y="222793"/>
                  </a:cubicBezTo>
                  <a:cubicBezTo>
                    <a:pt x="-3945" y="288580"/>
                    <a:pt x="19261" y="353249"/>
                    <a:pt x="64558" y="401168"/>
                  </a:cubicBezTo>
                  <a:cubicBezTo>
                    <a:pt x="154558" y="497062"/>
                    <a:pt x="305255" y="501839"/>
                    <a:pt x="401149" y="411840"/>
                  </a:cubicBezTo>
                  <a:cubicBezTo>
                    <a:pt x="449121" y="366815"/>
                    <a:pt x="476329" y="303949"/>
                    <a:pt x="476314" y="238157"/>
                  </a:cubicBezTo>
                  <a:close/>
                </a:path>
              </a:pathLst>
            </a:custGeom>
            <a:solidFill>
              <a:srgbClr val="000000"/>
            </a:solidFill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AA3B84C-0C5D-0867-48EB-EF6CBCC86468}"/>
                </a:ext>
              </a:extLst>
            </p:cNvPr>
            <p:cNvSpPr/>
            <p:nvPr/>
          </p:nvSpPr>
          <p:spPr>
            <a:xfrm>
              <a:off x="2646058" y="3885649"/>
              <a:ext cx="247650" cy="190500"/>
            </a:xfrm>
            <a:custGeom>
              <a:avLst/>
              <a:gdLst>
                <a:gd name="connsiteX0" fmla="*/ 247650 w 247650"/>
                <a:gd name="connsiteY0" fmla="*/ 57150 h 190500"/>
                <a:gd name="connsiteX1" fmla="*/ 200025 w 247650"/>
                <a:gd name="connsiteY1" fmla="*/ 0 h 190500"/>
                <a:gd name="connsiteX2" fmla="*/ 47625 w 247650"/>
                <a:gd name="connsiteY2" fmla="*/ 0 h 190500"/>
                <a:gd name="connsiteX3" fmla="*/ 0 w 247650"/>
                <a:gd name="connsiteY3" fmla="*/ 57150 h 190500"/>
                <a:gd name="connsiteX4" fmla="*/ 123825 w 247650"/>
                <a:gd name="connsiteY4" fmla="*/ 190500 h 190500"/>
                <a:gd name="connsiteX5" fmla="*/ 78762 w 247650"/>
                <a:gd name="connsiteY5" fmla="*/ 66675 h 190500"/>
                <a:gd name="connsiteX6" fmla="*/ 103251 w 247650"/>
                <a:gd name="connsiteY6" fmla="*/ 140122 h 190500"/>
                <a:gd name="connsiteX7" fmla="*/ 103196 w 247650"/>
                <a:gd name="connsiteY7" fmla="*/ 140245 h 190500"/>
                <a:gd name="connsiteX8" fmla="*/ 103089 w 247650"/>
                <a:gd name="connsiteY8" fmla="*/ 140218 h 190500"/>
                <a:gd name="connsiteX9" fmla="*/ 34957 w 247650"/>
                <a:gd name="connsiteY9" fmla="*/ 66827 h 190500"/>
                <a:gd name="connsiteX10" fmla="*/ 34975 w 247650"/>
                <a:gd name="connsiteY10" fmla="*/ 66694 h 190500"/>
                <a:gd name="connsiteX11" fmla="*/ 35023 w 247650"/>
                <a:gd name="connsiteY11" fmla="*/ 66675 h 190500"/>
                <a:gd name="connsiteX12" fmla="*/ 136331 w 247650"/>
                <a:gd name="connsiteY12" fmla="*/ 19050 h 190500"/>
                <a:gd name="connsiteX13" fmla="*/ 147761 w 247650"/>
                <a:gd name="connsiteY13" fmla="*/ 47625 h 190500"/>
                <a:gd name="connsiteX14" fmla="*/ 99698 w 247650"/>
                <a:gd name="connsiteY14" fmla="*/ 47625 h 190500"/>
                <a:gd name="connsiteX15" fmla="*/ 111128 w 247650"/>
                <a:gd name="connsiteY15" fmla="*/ 19050 h 190500"/>
                <a:gd name="connsiteX16" fmla="*/ 212655 w 247650"/>
                <a:gd name="connsiteY16" fmla="*/ 66780 h 190500"/>
                <a:gd name="connsiteX17" fmla="*/ 144266 w 247650"/>
                <a:gd name="connsiteY17" fmla="*/ 140465 h 190500"/>
                <a:gd name="connsiteX18" fmla="*/ 144131 w 247650"/>
                <a:gd name="connsiteY18" fmla="*/ 140450 h 190500"/>
                <a:gd name="connsiteX19" fmla="*/ 144113 w 247650"/>
                <a:gd name="connsiteY19" fmla="*/ 140370 h 190500"/>
                <a:gd name="connsiteX20" fmla="*/ 168688 w 247650"/>
                <a:gd name="connsiteY20" fmla="*/ 66675 h 190500"/>
                <a:gd name="connsiteX21" fmla="*/ 212655 w 247650"/>
                <a:gd name="connsiteY21" fmla="*/ 66675 h 190500"/>
                <a:gd name="connsiteX22" fmla="*/ 212655 w 247650"/>
                <a:gd name="connsiteY22" fmla="*/ 66780 h 190500"/>
                <a:gd name="connsiteX23" fmla="*/ 148609 w 247650"/>
                <a:gd name="connsiteY23" fmla="*/ 66675 h 190500"/>
                <a:gd name="connsiteX24" fmla="*/ 123844 w 247650"/>
                <a:gd name="connsiteY24" fmla="*/ 141056 h 190500"/>
                <a:gd name="connsiteX25" fmla="*/ 123724 w 247650"/>
                <a:gd name="connsiteY25" fmla="*/ 141117 h 190500"/>
                <a:gd name="connsiteX26" fmla="*/ 123663 w 247650"/>
                <a:gd name="connsiteY26" fmla="*/ 141056 h 190500"/>
                <a:gd name="connsiteX27" fmla="*/ 98841 w 247650"/>
                <a:gd name="connsiteY27" fmla="*/ 66675 h 190500"/>
                <a:gd name="connsiteX28" fmla="*/ 214703 w 247650"/>
                <a:gd name="connsiteY28" fmla="*/ 47625 h 190500"/>
                <a:gd name="connsiteX29" fmla="*/ 168269 w 247650"/>
                <a:gd name="connsiteY29" fmla="*/ 47625 h 190500"/>
                <a:gd name="connsiteX30" fmla="*/ 156839 w 247650"/>
                <a:gd name="connsiteY30" fmla="*/ 19050 h 190500"/>
                <a:gd name="connsiteX31" fmla="*/ 191129 w 247650"/>
                <a:gd name="connsiteY31" fmla="*/ 19050 h 190500"/>
                <a:gd name="connsiteX32" fmla="*/ 214808 w 247650"/>
                <a:gd name="connsiteY32" fmla="*/ 47473 h 190500"/>
                <a:gd name="connsiteX33" fmla="*/ 214763 w 247650"/>
                <a:gd name="connsiteY33" fmla="*/ 47614 h 190500"/>
                <a:gd name="connsiteX34" fmla="*/ 214703 w 247650"/>
                <a:gd name="connsiteY34" fmla="*/ 47625 h 190500"/>
                <a:gd name="connsiteX35" fmla="*/ 56588 w 247650"/>
                <a:gd name="connsiteY35" fmla="*/ 19050 h 190500"/>
                <a:gd name="connsiteX36" fmla="*/ 90668 w 247650"/>
                <a:gd name="connsiteY36" fmla="*/ 19050 h 190500"/>
                <a:gd name="connsiteX37" fmla="*/ 79238 w 247650"/>
                <a:gd name="connsiteY37" fmla="*/ 47625 h 190500"/>
                <a:gd name="connsiteX38" fmla="*/ 32928 w 247650"/>
                <a:gd name="connsiteY38" fmla="*/ 47625 h 190500"/>
                <a:gd name="connsiteX39" fmla="*/ 32834 w 247650"/>
                <a:gd name="connsiteY39" fmla="*/ 47529 h 190500"/>
                <a:gd name="connsiteX40" fmla="*/ 32861 w 247650"/>
                <a:gd name="connsiteY40" fmla="*/ 474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7650" h="190500">
                  <a:moveTo>
                    <a:pt x="247650" y="57150"/>
                  </a:moveTo>
                  <a:lnTo>
                    <a:pt x="200025" y="0"/>
                  </a:lnTo>
                  <a:lnTo>
                    <a:pt x="47625" y="0"/>
                  </a:lnTo>
                  <a:lnTo>
                    <a:pt x="0" y="57150"/>
                  </a:lnTo>
                  <a:lnTo>
                    <a:pt x="123825" y="190500"/>
                  </a:lnTo>
                  <a:close/>
                  <a:moveTo>
                    <a:pt x="78762" y="66675"/>
                  </a:moveTo>
                  <a:lnTo>
                    <a:pt x="103251" y="140122"/>
                  </a:lnTo>
                  <a:cubicBezTo>
                    <a:pt x="103270" y="140172"/>
                    <a:pt x="103245" y="140226"/>
                    <a:pt x="103196" y="140245"/>
                  </a:cubicBezTo>
                  <a:cubicBezTo>
                    <a:pt x="103158" y="140259"/>
                    <a:pt x="103115" y="140249"/>
                    <a:pt x="103089" y="140218"/>
                  </a:cubicBezTo>
                  <a:lnTo>
                    <a:pt x="34957" y="66827"/>
                  </a:lnTo>
                  <a:cubicBezTo>
                    <a:pt x="34925" y="66785"/>
                    <a:pt x="34933" y="66725"/>
                    <a:pt x="34975" y="66694"/>
                  </a:cubicBezTo>
                  <a:cubicBezTo>
                    <a:pt x="34989" y="66684"/>
                    <a:pt x="35006" y="66677"/>
                    <a:pt x="35023" y="66675"/>
                  </a:cubicBezTo>
                  <a:close/>
                  <a:moveTo>
                    <a:pt x="136331" y="19050"/>
                  </a:moveTo>
                  <a:lnTo>
                    <a:pt x="147761" y="47625"/>
                  </a:lnTo>
                  <a:lnTo>
                    <a:pt x="99698" y="47625"/>
                  </a:lnTo>
                  <a:lnTo>
                    <a:pt x="111128" y="19050"/>
                  </a:lnTo>
                  <a:close/>
                  <a:moveTo>
                    <a:pt x="212655" y="66780"/>
                  </a:moveTo>
                  <a:lnTo>
                    <a:pt x="144266" y="140465"/>
                  </a:lnTo>
                  <a:cubicBezTo>
                    <a:pt x="144225" y="140498"/>
                    <a:pt x="144165" y="140491"/>
                    <a:pt x="144131" y="140450"/>
                  </a:cubicBezTo>
                  <a:cubicBezTo>
                    <a:pt x="144114" y="140428"/>
                    <a:pt x="144107" y="140399"/>
                    <a:pt x="144113" y="140370"/>
                  </a:cubicBezTo>
                  <a:lnTo>
                    <a:pt x="168688" y="66675"/>
                  </a:lnTo>
                  <a:lnTo>
                    <a:pt x="212655" y="66675"/>
                  </a:lnTo>
                  <a:cubicBezTo>
                    <a:pt x="212679" y="66705"/>
                    <a:pt x="212679" y="66749"/>
                    <a:pt x="212655" y="66780"/>
                  </a:cubicBezTo>
                  <a:close/>
                  <a:moveTo>
                    <a:pt x="148609" y="66675"/>
                  </a:moveTo>
                  <a:lnTo>
                    <a:pt x="123844" y="141056"/>
                  </a:lnTo>
                  <a:cubicBezTo>
                    <a:pt x="123828" y="141105"/>
                    <a:pt x="123774" y="141133"/>
                    <a:pt x="123724" y="141117"/>
                  </a:cubicBezTo>
                  <a:cubicBezTo>
                    <a:pt x="123695" y="141107"/>
                    <a:pt x="123673" y="141084"/>
                    <a:pt x="123663" y="141056"/>
                  </a:cubicBezTo>
                  <a:lnTo>
                    <a:pt x="98841" y="66675"/>
                  </a:lnTo>
                  <a:close/>
                  <a:moveTo>
                    <a:pt x="214703" y="47625"/>
                  </a:moveTo>
                  <a:lnTo>
                    <a:pt x="168269" y="47625"/>
                  </a:lnTo>
                  <a:lnTo>
                    <a:pt x="156839" y="19050"/>
                  </a:lnTo>
                  <a:lnTo>
                    <a:pt x="191129" y="19050"/>
                  </a:lnTo>
                  <a:lnTo>
                    <a:pt x="214808" y="47473"/>
                  </a:lnTo>
                  <a:cubicBezTo>
                    <a:pt x="214834" y="47524"/>
                    <a:pt x="214814" y="47587"/>
                    <a:pt x="214763" y="47614"/>
                  </a:cubicBezTo>
                  <a:cubicBezTo>
                    <a:pt x="214745" y="47623"/>
                    <a:pt x="214724" y="47627"/>
                    <a:pt x="214703" y="47625"/>
                  </a:cubicBezTo>
                  <a:close/>
                  <a:moveTo>
                    <a:pt x="56588" y="19050"/>
                  </a:moveTo>
                  <a:lnTo>
                    <a:pt x="90668" y="19050"/>
                  </a:lnTo>
                  <a:lnTo>
                    <a:pt x="79238" y="47625"/>
                  </a:lnTo>
                  <a:lnTo>
                    <a:pt x="32928" y="47625"/>
                  </a:lnTo>
                  <a:cubicBezTo>
                    <a:pt x="32876" y="47624"/>
                    <a:pt x="32834" y="47581"/>
                    <a:pt x="32834" y="47529"/>
                  </a:cubicBezTo>
                  <a:cubicBezTo>
                    <a:pt x="32835" y="47504"/>
                    <a:pt x="32844" y="47480"/>
                    <a:pt x="32861" y="47463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574FEAD-0558-3339-D580-D44082269A6E}"/>
                </a:ext>
              </a:extLst>
            </p:cNvPr>
            <p:cNvSpPr/>
            <p:nvPr/>
          </p:nvSpPr>
          <p:spPr>
            <a:xfrm>
              <a:off x="2533861" y="4040582"/>
              <a:ext cx="178309" cy="388858"/>
            </a:xfrm>
            <a:custGeom>
              <a:avLst/>
              <a:gdLst>
                <a:gd name="connsiteX0" fmla="*/ 178309 w 178309"/>
                <a:gd name="connsiteY0" fmla="*/ 15411 h 388858"/>
                <a:gd name="connsiteX1" fmla="*/ 164022 w 178309"/>
                <a:gd name="connsiteY1" fmla="*/ 0 h 388858"/>
                <a:gd name="connsiteX2" fmla="*/ 716 w 178309"/>
                <a:gd name="connsiteY2" fmla="*/ 208150 h 388858"/>
                <a:gd name="connsiteX3" fmla="*/ 40368 w 178309"/>
                <a:gd name="connsiteY3" fmla="*/ 358645 h 388858"/>
                <a:gd name="connsiteX4" fmla="*/ 65648 w 178309"/>
                <a:gd name="connsiteY4" fmla="*/ 388858 h 388858"/>
                <a:gd name="connsiteX5" fmla="*/ 81783 w 178309"/>
                <a:gd name="connsiteY5" fmla="*/ 377904 h 388858"/>
                <a:gd name="connsiteX6" fmla="*/ 56180 w 178309"/>
                <a:gd name="connsiteY6" fmla="*/ 348024 h 388858"/>
                <a:gd name="connsiteX7" fmla="*/ 19718 w 178309"/>
                <a:gd name="connsiteY7" fmla="*/ 209531 h 388858"/>
                <a:gd name="connsiteX8" fmla="*/ 178309 w 178309"/>
                <a:gd name="connsiteY8" fmla="*/ 15411 h 38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309" h="388858">
                  <a:moveTo>
                    <a:pt x="178309" y="15411"/>
                  </a:moveTo>
                  <a:lnTo>
                    <a:pt x="164022" y="0"/>
                  </a:lnTo>
                  <a:cubicBezTo>
                    <a:pt x="72700" y="30256"/>
                    <a:pt x="8369" y="112251"/>
                    <a:pt x="716" y="208150"/>
                  </a:cubicBezTo>
                  <a:cubicBezTo>
                    <a:pt x="-3433" y="261353"/>
                    <a:pt x="10543" y="314394"/>
                    <a:pt x="40368" y="358645"/>
                  </a:cubicBezTo>
                  <a:cubicBezTo>
                    <a:pt x="47761" y="369538"/>
                    <a:pt x="56230" y="379660"/>
                    <a:pt x="65648" y="388858"/>
                  </a:cubicBezTo>
                  <a:cubicBezTo>
                    <a:pt x="71210" y="385486"/>
                    <a:pt x="76596" y="381830"/>
                    <a:pt x="81783" y="377904"/>
                  </a:cubicBezTo>
                  <a:cubicBezTo>
                    <a:pt x="72190" y="368901"/>
                    <a:pt x="63606" y="358883"/>
                    <a:pt x="56180" y="348024"/>
                  </a:cubicBezTo>
                  <a:cubicBezTo>
                    <a:pt x="28741" y="307299"/>
                    <a:pt x="15890" y="258488"/>
                    <a:pt x="19718" y="209531"/>
                  </a:cubicBezTo>
                  <a:cubicBezTo>
                    <a:pt x="27007" y="118115"/>
                    <a:pt x="90183" y="40785"/>
                    <a:pt x="178309" y="15411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419660A-CA41-CEB0-4D61-9AE24D58068B}"/>
                </a:ext>
              </a:extLst>
            </p:cNvPr>
            <p:cNvSpPr/>
            <p:nvPr/>
          </p:nvSpPr>
          <p:spPr>
            <a:xfrm>
              <a:off x="2663117" y="4039401"/>
              <a:ext cx="347092" cy="465372"/>
            </a:xfrm>
            <a:custGeom>
              <a:avLst/>
              <a:gdLst>
                <a:gd name="connsiteX0" fmla="*/ 277311 w 347092"/>
                <a:gd name="connsiteY0" fmla="*/ 58874 h 465372"/>
                <a:gd name="connsiteX1" fmla="*/ 179861 w 347092"/>
                <a:gd name="connsiteY1" fmla="*/ 0 h 465372"/>
                <a:gd name="connsiteX2" fmla="*/ 165316 w 347092"/>
                <a:gd name="connsiteY2" fmla="*/ 15669 h 465372"/>
                <a:gd name="connsiteX3" fmla="*/ 320836 w 347092"/>
                <a:gd name="connsiteY3" fmla="*/ 283626 h 465372"/>
                <a:gd name="connsiteX4" fmla="*/ 52878 w 347092"/>
                <a:gd name="connsiteY4" fmla="*/ 439146 h 465372"/>
                <a:gd name="connsiteX5" fmla="*/ 15945 w 347092"/>
                <a:gd name="connsiteY5" fmla="*/ 425691 h 465372"/>
                <a:gd name="connsiteX6" fmla="*/ 0 w 347092"/>
                <a:gd name="connsiteY6" fmla="*/ 438902 h 465372"/>
                <a:gd name="connsiteX7" fmla="*/ 109328 w 347092"/>
                <a:gd name="connsiteY7" fmla="*/ 465372 h 465372"/>
                <a:gd name="connsiteX8" fmla="*/ 127054 w 347092"/>
                <a:gd name="connsiteY8" fmla="*/ 464715 h 465372"/>
                <a:gd name="connsiteX9" fmla="*/ 346393 w 347092"/>
                <a:gd name="connsiteY9" fmla="*/ 209181 h 465372"/>
                <a:gd name="connsiteX10" fmla="*/ 277311 w 347092"/>
                <a:gd name="connsiteY10" fmla="*/ 58874 h 46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092" h="465372">
                  <a:moveTo>
                    <a:pt x="277311" y="58874"/>
                  </a:moveTo>
                  <a:cubicBezTo>
                    <a:pt x="250078" y="31643"/>
                    <a:pt x="216635" y="11439"/>
                    <a:pt x="179861" y="0"/>
                  </a:cubicBezTo>
                  <a:lnTo>
                    <a:pt x="165316" y="15669"/>
                  </a:lnTo>
                  <a:cubicBezTo>
                    <a:pt x="282256" y="46717"/>
                    <a:pt x="351885" y="166686"/>
                    <a:pt x="320836" y="283626"/>
                  </a:cubicBezTo>
                  <a:cubicBezTo>
                    <a:pt x="289787" y="400566"/>
                    <a:pt x="169818" y="470195"/>
                    <a:pt x="52878" y="439146"/>
                  </a:cubicBezTo>
                  <a:cubicBezTo>
                    <a:pt x="40189" y="435777"/>
                    <a:pt x="27828" y="431274"/>
                    <a:pt x="15945" y="425691"/>
                  </a:cubicBezTo>
                  <a:cubicBezTo>
                    <a:pt x="10814" y="430301"/>
                    <a:pt x="5499" y="434705"/>
                    <a:pt x="0" y="438902"/>
                  </a:cubicBezTo>
                  <a:cubicBezTo>
                    <a:pt x="33826" y="456276"/>
                    <a:pt x="71301" y="465350"/>
                    <a:pt x="109328" y="465372"/>
                  </a:cubicBezTo>
                  <a:cubicBezTo>
                    <a:pt x="115224" y="465372"/>
                    <a:pt x="121148" y="465163"/>
                    <a:pt x="127054" y="464715"/>
                  </a:cubicBezTo>
                  <a:cubicBezTo>
                    <a:pt x="258187" y="454720"/>
                    <a:pt x="356387" y="340314"/>
                    <a:pt x="346393" y="209181"/>
                  </a:cubicBezTo>
                  <a:cubicBezTo>
                    <a:pt x="342068" y="152433"/>
                    <a:pt x="317560" y="99111"/>
                    <a:pt x="277311" y="58874"/>
                  </a:cubicBezTo>
                  <a:close/>
                </a:path>
              </a:pathLst>
            </a:custGeom>
            <a:solidFill>
              <a:srgbClr val="000000"/>
            </a:solidFill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CCBE67B7-86B8-40D0-F37A-4096CBB944C4}"/>
              </a:ext>
            </a:extLst>
          </p:cNvPr>
          <p:cNvSpPr txBox="1"/>
          <p:nvPr/>
        </p:nvSpPr>
        <p:spPr>
          <a:xfrm>
            <a:off x="9301571" y="4576519"/>
            <a:ext cx="23017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(Up from 89% in 2019)</a:t>
            </a:r>
          </a:p>
        </p:txBody>
      </p:sp>
    </p:spTree>
    <p:extLst>
      <p:ext uri="{BB962C8B-B14F-4D97-AF65-F5344CB8AC3E}">
        <p14:creationId xmlns:p14="http://schemas.microsoft.com/office/powerpoint/2010/main" val="2176588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B5CEA7-FC07-4F5E-89CA-B76D44CF5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dia metrics for charity m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608CD06-DE3C-09A2-C1BE-EA5DB48378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9C184C-ADFB-4678-A95B-0F86885C85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67DFF03-CA2A-DB62-3EBF-CFB29EADE3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Mail Item Database, Charity, 2024, n=2,088</a:t>
            </a:r>
          </a:p>
          <a:p>
            <a:endParaRPr lang="en-GB" dirty="0"/>
          </a:p>
        </p:txBody>
      </p:sp>
      <p:grpSp>
        <p:nvGrpSpPr>
          <p:cNvPr id="6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7F6B2BD-9F5C-4E19-B042-E9ACD7C3123D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1943012" y="2723096"/>
            <a:ext cx="1663935" cy="1750293"/>
            <a:chOff x="6855725" y="2321521"/>
            <a:chExt cx="914400" cy="961857"/>
          </a:xfrm>
        </p:grpSpPr>
        <p:sp>
          <p:nvSpPr>
            <p:cNvPr id="7" name="Arc 6">
              <a:extLst>
                <a:ext uri="{FF2B5EF4-FFF2-40B4-BE49-F238E27FC236}">
                  <a16:creationId xmlns:a16="http://schemas.microsoft.com/office/drawing/2014/main" id="{CFB3DAFB-B444-435C-87BC-15D0518930CA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Arc 7">
              <a:extLst>
                <a:ext uri="{FF2B5EF4-FFF2-40B4-BE49-F238E27FC236}">
                  <a16:creationId xmlns:a16="http://schemas.microsoft.com/office/drawing/2014/main" id="{73F99FC1-5FC5-418D-A9C6-2A683C4DE78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DBDD5158-A058-4DC6-9949-1EAA6F9D299E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83BD971B-6D1B-49EB-BB8B-896BE382BFCD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8509664-5498-4565-89E0-71274E34B5B9}"/>
              </a:ext>
            </a:extLst>
          </p:cNvPr>
          <p:cNvGrpSpPr/>
          <p:nvPr/>
        </p:nvGrpSpPr>
        <p:grpSpPr>
          <a:xfrm>
            <a:off x="5206658" y="2746633"/>
            <a:ext cx="1785786" cy="1703218"/>
            <a:chOff x="6791322" y="2606349"/>
            <a:chExt cx="939388" cy="895954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8C51AD4D-91BF-44DE-BB47-0F5C91F00945}"/>
                </a:ext>
              </a:extLst>
            </p:cNvPr>
            <p:cNvSpPr/>
            <p:nvPr/>
          </p:nvSpPr>
          <p:spPr>
            <a:xfrm>
              <a:off x="6791322" y="2625640"/>
              <a:ext cx="857779" cy="857780"/>
            </a:xfrm>
            <a:prstGeom prst="ellipse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27E0510D-9FCD-41AA-AB83-33E72BAEB181}"/>
                </a:ext>
              </a:extLst>
            </p:cNvPr>
            <p:cNvSpPr/>
            <p:nvPr/>
          </p:nvSpPr>
          <p:spPr>
            <a:xfrm>
              <a:off x="6894011" y="2606349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3F995FB-D544-4505-B9A0-742E5F12F6C0}"/>
                </a:ext>
              </a:extLst>
            </p:cNvPr>
            <p:cNvSpPr/>
            <p:nvPr/>
          </p:nvSpPr>
          <p:spPr>
            <a:xfrm>
              <a:off x="6894010" y="3303380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85B8D599-8E17-48DA-87C8-6E386F808B97}"/>
                </a:ext>
              </a:extLst>
            </p:cNvPr>
            <p:cNvSpPr/>
            <p:nvPr/>
          </p:nvSpPr>
          <p:spPr>
            <a:xfrm>
              <a:off x="7531787" y="2955067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D96D8397-05E3-4E4B-81CB-89F7324FF791}"/>
              </a:ext>
            </a:extLst>
          </p:cNvPr>
          <p:cNvSpPr txBox="1"/>
          <p:nvPr/>
        </p:nvSpPr>
        <p:spPr>
          <a:xfrm>
            <a:off x="1537364" y="4592769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Frequency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Number of times mail returned to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B4E2214-F14D-4E50-8CFD-7A0F2ED40FA3}"/>
              </a:ext>
            </a:extLst>
          </p:cNvPr>
          <p:cNvSpPr txBox="1"/>
          <p:nvPr/>
        </p:nvSpPr>
        <p:spPr>
          <a:xfrm>
            <a:off x="2172869" y="3246542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29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0C86E90-4B45-4767-8D59-6AA3EEAA0E89}"/>
              </a:ext>
            </a:extLst>
          </p:cNvPr>
          <p:cNvSpPr txBox="1"/>
          <p:nvPr/>
        </p:nvSpPr>
        <p:spPr>
          <a:xfrm>
            <a:off x="5377413" y="3246542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.1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1A876FD-C848-4D5F-9593-BA9A1549BDD2}"/>
              </a:ext>
            </a:extLst>
          </p:cNvPr>
          <p:cNvSpPr txBox="1"/>
          <p:nvPr/>
        </p:nvSpPr>
        <p:spPr>
          <a:xfrm>
            <a:off x="4691329" y="4592769"/>
            <a:ext cx="28504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Reach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Number of people who see mai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56982E5-E0B4-443A-925E-42FD34D19CA9}"/>
              </a:ext>
            </a:extLst>
          </p:cNvPr>
          <p:cNvSpPr txBox="1"/>
          <p:nvPr/>
        </p:nvSpPr>
        <p:spPr>
          <a:xfrm>
            <a:off x="7933288" y="4592769"/>
            <a:ext cx="28504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Attention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Average number of seconds of attention per mail ite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CF7F2FC-F548-4F2B-9E43-00B863F0D793}"/>
              </a:ext>
            </a:extLst>
          </p:cNvPr>
          <p:cNvSpPr txBox="1"/>
          <p:nvPr/>
        </p:nvSpPr>
        <p:spPr>
          <a:xfrm>
            <a:off x="8761998" y="3246542"/>
            <a:ext cx="11320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23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DC9743F-8D97-4B45-B008-1DD39A660544}"/>
              </a:ext>
            </a:extLst>
          </p:cNvPr>
          <p:cNvGrpSpPr/>
          <p:nvPr/>
        </p:nvGrpSpPr>
        <p:grpSpPr>
          <a:xfrm>
            <a:off x="8460288" y="2490828"/>
            <a:ext cx="1708788" cy="1976431"/>
            <a:chOff x="5524411" y="551421"/>
            <a:chExt cx="2067634" cy="2391481"/>
          </a:xfrm>
        </p:grpSpPr>
        <p:sp>
          <p:nvSpPr>
            <p:cNvPr id="45" name="Freeform 928">
              <a:extLst>
                <a:ext uri="{FF2B5EF4-FFF2-40B4-BE49-F238E27FC236}">
                  <a16:creationId xmlns:a16="http://schemas.microsoft.com/office/drawing/2014/main" id="{6E23F5F9-6F3B-4298-82A2-D8DE3DD30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102" y="974912"/>
              <a:ext cx="311395" cy="311395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930">
              <a:extLst>
                <a:ext uri="{FF2B5EF4-FFF2-40B4-BE49-F238E27FC236}">
                  <a16:creationId xmlns:a16="http://schemas.microsoft.com/office/drawing/2014/main" id="{6F8692C4-2078-4C25-B851-902173F91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676" y="713348"/>
              <a:ext cx="236661" cy="19929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931">
              <a:extLst>
                <a:ext uri="{FF2B5EF4-FFF2-40B4-BE49-F238E27FC236}">
                  <a16:creationId xmlns:a16="http://schemas.microsoft.com/office/drawing/2014/main" id="{E544F93A-7370-487C-AD54-45F92818B3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482" y="551421"/>
              <a:ext cx="423491" cy="236661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932">
              <a:extLst>
                <a:ext uri="{FF2B5EF4-FFF2-40B4-BE49-F238E27FC236}">
                  <a16:creationId xmlns:a16="http://schemas.microsoft.com/office/drawing/2014/main" id="{638E7F5E-96E4-486D-A20F-1AFD0A47D4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411" y="875267"/>
              <a:ext cx="2067634" cy="206763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7715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93F07-C5F4-B190-8303-86DC920D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BA193-71EF-031B-EE30-1827B071A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AB08F-90E3-7F06-EE50-D30B426128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1B2CFFB-B63C-C69D-0FF4-0ECF753F37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Mail Item Database, Charity, 2024, n=257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EE04F4-7429-2AB0-F6BE-A89A0F3295B3}"/>
              </a:ext>
            </a:extLst>
          </p:cNvPr>
          <p:cNvSpPr txBox="1"/>
          <p:nvPr/>
        </p:nvSpPr>
        <p:spPr>
          <a:xfrm>
            <a:off x="1021955" y="2707820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26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C125B2-5437-90C3-F00B-2BA4AFA5B015}"/>
              </a:ext>
            </a:extLst>
          </p:cNvPr>
          <p:cNvSpPr txBox="1"/>
          <p:nvPr/>
        </p:nvSpPr>
        <p:spPr>
          <a:xfrm>
            <a:off x="7025648" y="2425833"/>
            <a:ext cx="7649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E4CD0C-4269-CB68-FFB8-F080258C1D80}"/>
              </a:ext>
            </a:extLst>
          </p:cNvPr>
          <p:cNvSpPr txBox="1"/>
          <p:nvPr/>
        </p:nvSpPr>
        <p:spPr>
          <a:xfrm>
            <a:off x="469131" y="4041852"/>
            <a:ext cx="2217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Take any commercial a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C1403EB-4BCC-FDA9-874E-B5AE343BF51E}"/>
              </a:ext>
            </a:extLst>
          </p:cNvPr>
          <p:cNvSpPr txBox="1"/>
          <p:nvPr/>
        </p:nvSpPr>
        <p:spPr>
          <a:xfrm>
            <a:off x="3826754" y="3887922"/>
            <a:ext cx="243956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… buy someth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</a:rPr>
              <a:t>m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ke a payment or donation</a:t>
            </a:r>
          </a:p>
          <a:p>
            <a:pPr algn="ctr"/>
            <a:endParaRPr lang="en-GB" b="1" dirty="0">
              <a:latin typeface="+mj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32DE57B-8545-D427-0898-1C51A6319D20}"/>
              </a:ext>
            </a:extLst>
          </p:cNvPr>
          <p:cNvSpPr txBox="1"/>
          <p:nvPr/>
        </p:nvSpPr>
        <p:spPr>
          <a:xfrm>
            <a:off x="4564305" y="2402984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2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74E6D4A4-0CEA-A3BE-B1C7-3C58E1E3ED24}"/>
              </a:ext>
            </a:extLst>
          </p:cNvPr>
          <p:cNvSpPr txBox="1"/>
          <p:nvPr/>
        </p:nvSpPr>
        <p:spPr>
          <a:xfrm>
            <a:off x="2053337" y="3760245"/>
            <a:ext cx="20286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/>
              <a:t>The 26% taking an action go on to…</a:t>
            </a:r>
          </a:p>
        </p:txBody>
      </p:sp>
      <p:grpSp>
        <p:nvGrpSpPr>
          <p:cNvPr id="79" name="Arrow33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D5A9AB-BA81-84D4-273F-E8419CEB1CAA}"/>
              </a:ext>
            </a:extLst>
          </p:cNvPr>
          <p:cNvGrpSpPr>
            <a:grpSpLocks noChangeAspect="1"/>
          </p:cNvGrpSpPr>
          <p:nvPr/>
        </p:nvGrpSpPr>
        <p:grpSpPr>
          <a:xfrm>
            <a:off x="2632392" y="3108398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44E71D3-6D02-D31D-FE15-BED464F2C11F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5C99A3B-D99D-CC17-E0F0-A17D5DBF3B57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02220A6-3617-8E35-1A10-4FDBF041579E}"/>
              </a:ext>
            </a:extLst>
          </p:cNvPr>
          <p:cNvSpPr txBox="1"/>
          <p:nvPr/>
        </p:nvSpPr>
        <p:spPr>
          <a:xfrm>
            <a:off x="6450671" y="3887922"/>
            <a:ext cx="2602014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… take online action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sit sender’s web site, go online, look up account details, use a tablet or smartphone</a:t>
            </a:r>
          </a:p>
          <a:p>
            <a:pPr algn="ctr"/>
            <a:endParaRPr lang="en-GB" b="1" dirty="0">
              <a:latin typeface="+mj-lt"/>
            </a:endParaRPr>
          </a:p>
        </p:txBody>
      </p:sp>
      <p:grpSp>
        <p:nvGrpSpPr>
          <p:cNvPr id="100" name="E_commer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C004E8-F39D-C213-4876-06331DC57EBB}"/>
              </a:ext>
            </a:extLst>
          </p:cNvPr>
          <p:cNvGrpSpPr>
            <a:grpSpLocks noChangeAspect="1"/>
          </p:cNvGrpSpPr>
          <p:nvPr/>
        </p:nvGrpSpPr>
        <p:grpSpPr>
          <a:xfrm>
            <a:off x="6927145" y="2477883"/>
            <a:ext cx="1649066" cy="1188862"/>
            <a:chOff x="3506547" y="3758510"/>
            <a:chExt cx="2867025" cy="2066924"/>
          </a:xfrm>
          <a:solidFill>
            <a:schemeClr val="tx1"/>
          </a:solidFill>
        </p:grpSpPr>
        <p:sp>
          <p:nvSpPr>
            <p:cNvPr id="101" name="Free-form: Shape 613">
              <a:extLst>
                <a:ext uri="{FF2B5EF4-FFF2-40B4-BE49-F238E27FC236}">
                  <a16:creationId xmlns:a16="http://schemas.microsoft.com/office/drawing/2014/main" id="{FF4F9B18-5D0B-6665-B72F-6CC661E7B5A3}"/>
                </a:ext>
              </a:extLst>
            </p:cNvPr>
            <p:cNvSpPr/>
            <p:nvPr/>
          </p:nvSpPr>
          <p:spPr>
            <a:xfrm>
              <a:off x="3725526" y="3758510"/>
              <a:ext cx="2429066" cy="1847850"/>
            </a:xfrm>
            <a:custGeom>
              <a:avLst/>
              <a:gdLst>
                <a:gd name="connsiteX0" fmla="*/ 2284476 w 2429066"/>
                <a:gd name="connsiteY0" fmla="*/ 0 h 1847850"/>
                <a:gd name="connsiteX1" fmla="*/ 2414207 w 2429066"/>
                <a:gd name="connsiteY1" fmla="*/ 93536 h 1847850"/>
                <a:gd name="connsiteX2" fmla="*/ 2429066 w 2429066"/>
                <a:gd name="connsiteY2" fmla="*/ 223076 h 1847850"/>
                <a:gd name="connsiteX3" fmla="*/ 2428970 w 2429066"/>
                <a:gd name="connsiteY3" fmla="*/ 1823466 h 1847850"/>
                <a:gd name="connsiteX4" fmla="*/ 2404586 w 2429066"/>
                <a:gd name="connsiteY4" fmla="*/ 1847850 h 1847850"/>
                <a:gd name="connsiteX5" fmla="*/ 24479 w 2429066"/>
                <a:gd name="connsiteY5" fmla="*/ 1847850 h 1847850"/>
                <a:gd name="connsiteX6" fmla="*/ 95 w 2429066"/>
                <a:gd name="connsiteY6" fmla="*/ 1823466 h 1847850"/>
                <a:gd name="connsiteX7" fmla="*/ 0 w 2429066"/>
                <a:gd name="connsiteY7" fmla="*/ 222980 h 1847850"/>
                <a:gd name="connsiteX8" fmla="*/ 14954 w 2429066"/>
                <a:gd name="connsiteY8" fmla="*/ 93345 h 1847850"/>
                <a:gd name="connsiteX9" fmla="*/ 144971 w 2429066"/>
                <a:gd name="connsiteY9" fmla="*/ 0 h 1847850"/>
                <a:gd name="connsiteX10" fmla="*/ 2284476 w 2429066"/>
                <a:gd name="connsiteY10" fmla="*/ 0 h 1847850"/>
                <a:gd name="connsiteX11" fmla="*/ 1214628 w 2429066"/>
                <a:gd name="connsiteY11" fmla="*/ 1800225 h 1847850"/>
                <a:gd name="connsiteX12" fmla="*/ 2378678 w 2429066"/>
                <a:gd name="connsiteY12" fmla="*/ 1799844 h 1847850"/>
                <a:gd name="connsiteX13" fmla="*/ 2381441 w 2429066"/>
                <a:gd name="connsiteY13" fmla="*/ 1797082 h 1847850"/>
                <a:gd name="connsiteX14" fmla="*/ 2381441 w 2429066"/>
                <a:gd name="connsiteY14" fmla="*/ 201359 h 1847850"/>
                <a:gd name="connsiteX15" fmla="*/ 2374487 w 2429066"/>
                <a:gd name="connsiteY15" fmla="*/ 123349 h 1847850"/>
                <a:gd name="connsiteX16" fmla="*/ 2320957 w 2429066"/>
                <a:gd name="connsiteY16" fmla="*/ 60484 h 1847850"/>
                <a:gd name="connsiteX17" fmla="*/ 2216087 w 2429066"/>
                <a:gd name="connsiteY17" fmla="*/ 47625 h 1847850"/>
                <a:gd name="connsiteX18" fmla="*/ 1214533 w 2429066"/>
                <a:gd name="connsiteY18" fmla="*/ 47625 h 1847850"/>
                <a:gd name="connsiteX19" fmla="*/ 212979 w 2429066"/>
                <a:gd name="connsiteY19" fmla="*/ 47720 h 1847850"/>
                <a:gd name="connsiteX20" fmla="*/ 108109 w 2429066"/>
                <a:gd name="connsiteY20" fmla="*/ 60579 h 1847850"/>
                <a:gd name="connsiteX21" fmla="*/ 54578 w 2429066"/>
                <a:gd name="connsiteY21" fmla="*/ 123444 h 1847850"/>
                <a:gd name="connsiteX22" fmla="*/ 47625 w 2429066"/>
                <a:gd name="connsiteY22" fmla="*/ 201549 h 1847850"/>
                <a:gd name="connsiteX23" fmla="*/ 47816 w 2429066"/>
                <a:gd name="connsiteY23" fmla="*/ 1797272 h 1847850"/>
                <a:gd name="connsiteX24" fmla="*/ 50578 w 2429066"/>
                <a:gd name="connsiteY24" fmla="*/ 1800035 h 1847850"/>
                <a:gd name="connsiteX25" fmla="*/ 1214628 w 2429066"/>
                <a:gd name="connsiteY25" fmla="*/ 1800225 h 184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9066" h="1847850">
                  <a:moveTo>
                    <a:pt x="2284476" y="0"/>
                  </a:moveTo>
                  <a:cubicBezTo>
                    <a:pt x="2349373" y="11239"/>
                    <a:pt x="2392616" y="42418"/>
                    <a:pt x="2414207" y="93536"/>
                  </a:cubicBezTo>
                  <a:cubicBezTo>
                    <a:pt x="2424176" y="117158"/>
                    <a:pt x="2429129" y="160338"/>
                    <a:pt x="2429066" y="223076"/>
                  </a:cubicBezTo>
                  <a:cubicBezTo>
                    <a:pt x="2428939" y="897890"/>
                    <a:pt x="2428907" y="1431354"/>
                    <a:pt x="2428970" y="1823466"/>
                  </a:cubicBezTo>
                  <a:cubicBezTo>
                    <a:pt x="2428970" y="1836933"/>
                    <a:pt x="2418053" y="1847850"/>
                    <a:pt x="2404586" y="1847850"/>
                  </a:cubicBezTo>
                  <a:lnTo>
                    <a:pt x="24479" y="1847850"/>
                  </a:lnTo>
                  <a:cubicBezTo>
                    <a:pt x="11012" y="1847850"/>
                    <a:pt x="95" y="1836933"/>
                    <a:pt x="95" y="1823466"/>
                  </a:cubicBezTo>
                  <a:cubicBezTo>
                    <a:pt x="95" y="1189863"/>
                    <a:pt x="63" y="656368"/>
                    <a:pt x="0" y="222980"/>
                  </a:cubicBezTo>
                  <a:cubicBezTo>
                    <a:pt x="0" y="160179"/>
                    <a:pt x="4985" y="116967"/>
                    <a:pt x="14954" y="93345"/>
                  </a:cubicBezTo>
                  <a:cubicBezTo>
                    <a:pt x="36544" y="42101"/>
                    <a:pt x="79883" y="10986"/>
                    <a:pt x="144971" y="0"/>
                  </a:cubicBezTo>
                  <a:lnTo>
                    <a:pt x="2284476" y="0"/>
                  </a:lnTo>
                  <a:close/>
                  <a:moveTo>
                    <a:pt x="1214628" y="1800225"/>
                  </a:moveTo>
                  <a:cubicBezTo>
                    <a:pt x="1602867" y="1800225"/>
                    <a:pt x="1990884" y="1800098"/>
                    <a:pt x="2378678" y="1799844"/>
                  </a:cubicBezTo>
                  <a:cubicBezTo>
                    <a:pt x="2380204" y="1799844"/>
                    <a:pt x="2381441" y="1798607"/>
                    <a:pt x="2381441" y="1797082"/>
                  </a:cubicBezTo>
                  <a:cubicBezTo>
                    <a:pt x="2381377" y="1265206"/>
                    <a:pt x="2381377" y="733298"/>
                    <a:pt x="2381441" y="201359"/>
                  </a:cubicBezTo>
                  <a:cubicBezTo>
                    <a:pt x="2381441" y="164211"/>
                    <a:pt x="2379123" y="138208"/>
                    <a:pt x="2374487" y="123349"/>
                  </a:cubicBezTo>
                  <a:cubicBezTo>
                    <a:pt x="2365153" y="93885"/>
                    <a:pt x="2347309" y="72930"/>
                    <a:pt x="2320957" y="60484"/>
                  </a:cubicBezTo>
                  <a:cubicBezTo>
                    <a:pt x="2302796" y="51911"/>
                    <a:pt x="2267839" y="47625"/>
                    <a:pt x="2216087" y="47625"/>
                  </a:cubicBezTo>
                  <a:cubicBezTo>
                    <a:pt x="1882267" y="47562"/>
                    <a:pt x="1548416" y="47562"/>
                    <a:pt x="1214533" y="47625"/>
                  </a:cubicBezTo>
                  <a:cubicBezTo>
                    <a:pt x="880650" y="47625"/>
                    <a:pt x="546799" y="47657"/>
                    <a:pt x="212979" y="47720"/>
                  </a:cubicBezTo>
                  <a:cubicBezTo>
                    <a:pt x="161227" y="47720"/>
                    <a:pt x="126270" y="52007"/>
                    <a:pt x="108109" y="60579"/>
                  </a:cubicBezTo>
                  <a:cubicBezTo>
                    <a:pt x="81756" y="73025"/>
                    <a:pt x="63913" y="93980"/>
                    <a:pt x="54578" y="123444"/>
                  </a:cubicBezTo>
                  <a:cubicBezTo>
                    <a:pt x="49943" y="138367"/>
                    <a:pt x="47625" y="164402"/>
                    <a:pt x="47625" y="201549"/>
                  </a:cubicBezTo>
                  <a:cubicBezTo>
                    <a:pt x="47752" y="733489"/>
                    <a:pt x="47816" y="1265396"/>
                    <a:pt x="47816" y="1797272"/>
                  </a:cubicBezTo>
                  <a:cubicBezTo>
                    <a:pt x="47816" y="1798798"/>
                    <a:pt x="49052" y="1800035"/>
                    <a:pt x="50578" y="1800035"/>
                  </a:cubicBezTo>
                  <a:cubicBezTo>
                    <a:pt x="438372" y="1800162"/>
                    <a:pt x="826389" y="1800225"/>
                    <a:pt x="1214628" y="1800225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5" name="Free-form: Shape 617">
              <a:extLst>
                <a:ext uri="{FF2B5EF4-FFF2-40B4-BE49-F238E27FC236}">
                  <a16:creationId xmlns:a16="http://schemas.microsoft.com/office/drawing/2014/main" id="{9F02DA13-0689-8F36-B575-1620A129C024}"/>
                </a:ext>
              </a:extLst>
            </p:cNvPr>
            <p:cNvSpPr/>
            <p:nvPr/>
          </p:nvSpPr>
          <p:spPr>
            <a:xfrm>
              <a:off x="3506547" y="5559409"/>
              <a:ext cx="2867025" cy="266025"/>
            </a:xfrm>
            <a:custGeom>
              <a:avLst/>
              <a:gdLst>
                <a:gd name="connsiteX0" fmla="*/ 2867025 w 2867025"/>
                <a:gd name="connsiteY0" fmla="*/ 8374 h 266025"/>
                <a:gd name="connsiteX1" fmla="*/ 2867025 w 2867025"/>
                <a:gd name="connsiteY1" fmla="*/ 11136 h 266025"/>
                <a:gd name="connsiteX2" fmla="*/ 2859691 w 2867025"/>
                <a:gd name="connsiteY2" fmla="*/ 16946 h 266025"/>
                <a:gd name="connsiteX3" fmla="*/ 2858167 w 2867025"/>
                <a:gd name="connsiteY3" fmla="*/ 25138 h 266025"/>
                <a:gd name="connsiteX4" fmla="*/ 2867025 w 2867025"/>
                <a:gd name="connsiteY4" fmla="*/ 30186 h 266025"/>
                <a:gd name="connsiteX5" fmla="*/ 2867025 w 2867025"/>
                <a:gd name="connsiteY5" fmla="*/ 37425 h 266025"/>
                <a:gd name="connsiteX6" fmla="*/ 2638044 w 2867025"/>
                <a:gd name="connsiteY6" fmla="*/ 266025 h 266025"/>
                <a:gd name="connsiteX7" fmla="*/ 231172 w 2867025"/>
                <a:gd name="connsiteY7" fmla="*/ 266025 h 266025"/>
                <a:gd name="connsiteX8" fmla="*/ 0 w 2867025"/>
                <a:gd name="connsiteY8" fmla="*/ 35520 h 266025"/>
                <a:gd name="connsiteX9" fmla="*/ 0 w 2867025"/>
                <a:gd name="connsiteY9" fmla="*/ 19137 h 266025"/>
                <a:gd name="connsiteX10" fmla="*/ 38195 w 2867025"/>
                <a:gd name="connsiteY10" fmla="*/ 4468 h 266025"/>
                <a:gd name="connsiteX11" fmla="*/ 43910 w 2867025"/>
                <a:gd name="connsiteY11" fmla="*/ 11327 h 266025"/>
                <a:gd name="connsiteX12" fmla="*/ 57531 w 2867025"/>
                <a:gd name="connsiteY12" fmla="*/ 80859 h 266025"/>
                <a:gd name="connsiteX13" fmla="*/ 254794 w 2867025"/>
                <a:gd name="connsiteY13" fmla="*/ 218495 h 266025"/>
                <a:gd name="connsiteX14" fmla="*/ 2605088 w 2867025"/>
                <a:gd name="connsiteY14" fmla="*/ 218495 h 266025"/>
                <a:gd name="connsiteX15" fmla="*/ 2810256 w 2867025"/>
                <a:gd name="connsiteY15" fmla="*/ 81145 h 266025"/>
                <a:gd name="connsiteX16" fmla="*/ 2823401 w 2867025"/>
                <a:gd name="connsiteY16" fmla="*/ 10374 h 266025"/>
                <a:gd name="connsiteX17" fmla="*/ 2829401 w 2867025"/>
                <a:gd name="connsiteY17" fmla="*/ 3707 h 266025"/>
                <a:gd name="connsiteX18" fmla="*/ 2867025 w 2867025"/>
                <a:gd name="connsiteY18" fmla="*/ 8374 h 26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7025" h="266025">
                  <a:moveTo>
                    <a:pt x="2867025" y="8374"/>
                  </a:moveTo>
                  <a:cubicBezTo>
                    <a:pt x="2867025" y="9263"/>
                    <a:pt x="2867025" y="10184"/>
                    <a:pt x="2867025" y="11136"/>
                  </a:cubicBezTo>
                  <a:cubicBezTo>
                    <a:pt x="2863977" y="12851"/>
                    <a:pt x="2861532" y="14787"/>
                    <a:pt x="2859691" y="16946"/>
                  </a:cubicBezTo>
                  <a:cubicBezTo>
                    <a:pt x="2857278" y="19804"/>
                    <a:pt x="2856770" y="22534"/>
                    <a:pt x="2858167" y="25138"/>
                  </a:cubicBezTo>
                  <a:cubicBezTo>
                    <a:pt x="2859500" y="27741"/>
                    <a:pt x="2862453" y="29424"/>
                    <a:pt x="2867025" y="30186"/>
                  </a:cubicBezTo>
                  <a:lnTo>
                    <a:pt x="2867025" y="37425"/>
                  </a:lnTo>
                  <a:cubicBezTo>
                    <a:pt x="2848483" y="171855"/>
                    <a:pt x="2772156" y="248055"/>
                    <a:pt x="2638044" y="266025"/>
                  </a:cubicBezTo>
                  <a:lnTo>
                    <a:pt x="231172" y="266025"/>
                  </a:lnTo>
                  <a:cubicBezTo>
                    <a:pt x="95345" y="248499"/>
                    <a:pt x="18288" y="171664"/>
                    <a:pt x="0" y="35520"/>
                  </a:cubicBezTo>
                  <a:lnTo>
                    <a:pt x="0" y="19137"/>
                  </a:lnTo>
                  <a:cubicBezTo>
                    <a:pt x="7303" y="214"/>
                    <a:pt x="20034" y="-4675"/>
                    <a:pt x="38195" y="4468"/>
                  </a:cubicBezTo>
                  <a:cubicBezTo>
                    <a:pt x="41116" y="5929"/>
                    <a:pt x="43021" y="8215"/>
                    <a:pt x="43910" y="11327"/>
                  </a:cubicBezTo>
                  <a:cubicBezTo>
                    <a:pt x="50959" y="35711"/>
                    <a:pt x="48673" y="56856"/>
                    <a:pt x="57531" y="80859"/>
                  </a:cubicBezTo>
                  <a:cubicBezTo>
                    <a:pt x="91631" y="172617"/>
                    <a:pt x="157385" y="218495"/>
                    <a:pt x="254794" y="218495"/>
                  </a:cubicBezTo>
                  <a:cubicBezTo>
                    <a:pt x="709644" y="218368"/>
                    <a:pt x="1493075" y="218368"/>
                    <a:pt x="2605088" y="218495"/>
                  </a:cubicBezTo>
                  <a:cubicBezTo>
                    <a:pt x="2709418" y="218495"/>
                    <a:pt x="2777808" y="172712"/>
                    <a:pt x="2810256" y="81145"/>
                  </a:cubicBezTo>
                  <a:cubicBezTo>
                    <a:pt x="2818353" y="58285"/>
                    <a:pt x="2815876" y="33139"/>
                    <a:pt x="2823401" y="10374"/>
                  </a:cubicBezTo>
                  <a:cubicBezTo>
                    <a:pt x="2824417" y="7263"/>
                    <a:pt x="2826417" y="5040"/>
                    <a:pt x="2829401" y="3707"/>
                  </a:cubicBezTo>
                  <a:cubicBezTo>
                    <a:pt x="2840768" y="-1437"/>
                    <a:pt x="2853309" y="119"/>
                    <a:pt x="2867025" y="8374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01286D-4F82-4175-4C7B-E5C31676DD47}"/>
              </a:ext>
            </a:extLst>
          </p:cNvPr>
          <p:cNvGrpSpPr/>
          <p:nvPr/>
        </p:nvGrpSpPr>
        <p:grpSpPr>
          <a:xfrm>
            <a:off x="4228284" y="2261272"/>
            <a:ext cx="1598234" cy="1331029"/>
            <a:chOff x="7020101" y="3470484"/>
            <a:chExt cx="644526" cy="536770"/>
          </a:xfrm>
        </p:grpSpPr>
        <p:sp>
          <p:nvSpPr>
            <p:cNvPr id="119" name="Freeform 681">
              <a:extLst>
                <a:ext uri="{FF2B5EF4-FFF2-40B4-BE49-F238E27FC236}">
                  <a16:creationId xmlns:a16="http://schemas.microsoft.com/office/drawing/2014/main" id="{003F1F4A-755D-88E8-BFA2-18668358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0101" y="3541617"/>
              <a:ext cx="589280" cy="213089"/>
            </a:xfrm>
            <a:custGeom>
              <a:avLst/>
              <a:gdLst>
                <a:gd name="T0" fmla="*/ 8 w 391"/>
                <a:gd name="T1" fmla="*/ 142 h 142"/>
                <a:gd name="T2" fmla="*/ 0 w 391"/>
                <a:gd name="T3" fmla="*/ 135 h 142"/>
                <a:gd name="T4" fmla="*/ 0 w 391"/>
                <a:gd name="T5" fmla="*/ 7 h 142"/>
                <a:gd name="T6" fmla="*/ 8 w 391"/>
                <a:gd name="T7" fmla="*/ 0 h 142"/>
                <a:gd name="T8" fmla="*/ 384 w 391"/>
                <a:gd name="T9" fmla="*/ 0 h 142"/>
                <a:gd name="T10" fmla="*/ 391 w 391"/>
                <a:gd name="T11" fmla="*/ 7 h 142"/>
                <a:gd name="T12" fmla="*/ 391 w 391"/>
                <a:gd name="T13" fmla="*/ 98 h 142"/>
                <a:gd name="T14" fmla="*/ 384 w 391"/>
                <a:gd name="T15" fmla="*/ 106 h 142"/>
                <a:gd name="T16" fmla="*/ 377 w 391"/>
                <a:gd name="T17" fmla="*/ 98 h 142"/>
                <a:gd name="T18" fmla="*/ 377 w 391"/>
                <a:gd name="T19" fmla="*/ 14 h 142"/>
                <a:gd name="T20" fmla="*/ 15 w 391"/>
                <a:gd name="T21" fmla="*/ 14 h 142"/>
                <a:gd name="T22" fmla="*/ 15 w 391"/>
                <a:gd name="T23" fmla="*/ 135 h 142"/>
                <a:gd name="T24" fmla="*/ 8 w 391"/>
                <a:gd name="T2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1" h="142">
                  <a:moveTo>
                    <a:pt x="8" y="142"/>
                  </a:moveTo>
                  <a:cubicBezTo>
                    <a:pt x="4" y="142"/>
                    <a:pt x="0" y="139"/>
                    <a:pt x="0" y="135"/>
                  </a:cubicBezTo>
                  <a:lnTo>
                    <a:pt x="0" y="7"/>
                  </a:lnTo>
                  <a:cubicBezTo>
                    <a:pt x="0" y="3"/>
                    <a:pt x="4" y="0"/>
                    <a:pt x="8" y="0"/>
                  </a:cubicBezTo>
                  <a:lnTo>
                    <a:pt x="384" y="0"/>
                  </a:lnTo>
                  <a:cubicBezTo>
                    <a:pt x="388" y="0"/>
                    <a:pt x="391" y="3"/>
                    <a:pt x="391" y="7"/>
                  </a:cubicBezTo>
                  <a:lnTo>
                    <a:pt x="391" y="98"/>
                  </a:lnTo>
                  <a:cubicBezTo>
                    <a:pt x="391" y="103"/>
                    <a:pt x="388" y="106"/>
                    <a:pt x="384" y="106"/>
                  </a:cubicBezTo>
                  <a:cubicBezTo>
                    <a:pt x="380" y="106"/>
                    <a:pt x="377" y="103"/>
                    <a:pt x="377" y="98"/>
                  </a:cubicBezTo>
                  <a:lnTo>
                    <a:pt x="377" y="14"/>
                  </a:lnTo>
                  <a:lnTo>
                    <a:pt x="15" y="14"/>
                  </a:lnTo>
                  <a:lnTo>
                    <a:pt x="15" y="135"/>
                  </a:lnTo>
                  <a:cubicBezTo>
                    <a:pt x="15" y="139"/>
                    <a:pt x="12" y="142"/>
                    <a:pt x="8" y="14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0" name="Freeform 682">
              <a:extLst>
                <a:ext uri="{FF2B5EF4-FFF2-40B4-BE49-F238E27FC236}">
                  <a16:creationId xmlns:a16="http://schemas.microsoft.com/office/drawing/2014/main" id="{6106E170-B107-940B-4756-EBC5806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264" y="3862564"/>
              <a:ext cx="284117" cy="144690"/>
            </a:xfrm>
            <a:custGeom>
              <a:avLst/>
              <a:gdLst>
                <a:gd name="T0" fmla="*/ 181 w 188"/>
                <a:gd name="T1" fmla="*/ 96 h 96"/>
                <a:gd name="T2" fmla="*/ 7 w 188"/>
                <a:gd name="T3" fmla="*/ 96 h 96"/>
                <a:gd name="T4" fmla="*/ 0 w 188"/>
                <a:gd name="T5" fmla="*/ 89 h 96"/>
                <a:gd name="T6" fmla="*/ 7 w 188"/>
                <a:gd name="T7" fmla="*/ 82 h 96"/>
                <a:gd name="T8" fmla="*/ 174 w 188"/>
                <a:gd name="T9" fmla="*/ 82 h 96"/>
                <a:gd name="T10" fmla="*/ 174 w 188"/>
                <a:gd name="T11" fmla="*/ 8 h 96"/>
                <a:gd name="T12" fmla="*/ 181 w 188"/>
                <a:gd name="T13" fmla="*/ 0 h 96"/>
                <a:gd name="T14" fmla="*/ 188 w 188"/>
                <a:gd name="T15" fmla="*/ 8 h 96"/>
                <a:gd name="T16" fmla="*/ 188 w 188"/>
                <a:gd name="T17" fmla="*/ 89 h 96"/>
                <a:gd name="T18" fmla="*/ 181 w 188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96">
                  <a:moveTo>
                    <a:pt x="181" y="96"/>
                  </a:moveTo>
                  <a:lnTo>
                    <a:pt x="7" y="96"/>
                  </a:lnTo>
                  <a:cubicBezTo>
                    <a:pt x="3" y="96"/>
                    <a:pt x="0" y="93"/>
                    <a:pt x="0" y="89"/>
                  </a:cubicBezTo>
                  <a:cubicBezTo>
                    <a:pt x="0" y="85"/>
                    <a:pt x="3" y="82"/>
                    <a:pt x="7" y="82"/>
                  </a:cubicBezTo>
                  <a:lnTo>
                    <a:pt x="174" y="82"/>
                  </a:lnTo>
                  <a:lnTo>
                    <a:pt x="174" y="8"/>
                  </a:lnTo>
                  <a:cubicBezTo>
                    <a:pt x="174" y="4"/>
                    <a:pt x="177" y="0"/>
                    <a:pt x="181" y="0"/>
                  </a:cubicBezTo>
                  <a:cubicBezTo>
                    <a:pt x="185" y="0"/>
                    <a:pt x="188" y="4"/>
                    <a:pt x="188" y="8"/>
                  </a:cubicBezTo>
                  <a:lnTo>
                    <a:pt x="188" y="89"/>
                  </a:lnTo>
                  <a:cubicBezTo>
                    <a:pt x="188" y="93"/>
                    <a:pt x="185" y="96"/>
                    <a:pt x="181" y="9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1" name="Freeform 683">
              <a:extLst>
                <a:ext uri="{FF2B5EF4-FFF2-40B4-BE49-F238E27FC236}">
                  <a16:creationId xmlns:a16="http://schemas.microsoft.com/office/drawing/2014/main" id="{206DC836-682D-34BB-3AA6-6FFB698255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8909" y="3699460"/>
              <a:ext cx="215718" cy="152581"/>
            </a:xfrm>
            <a:custGeom>
              <a:avLst/>
              <a:gdLst>
                <a:gd name="T0" fmla="*/ 37 w 144"/>
                <a:gd name="T1" fmla="*/ 15 h 101"/>
                <a:gd name="T2" fmla="*/ 15 w 144"/>
                <a:gd name="T3" fmla="*/ 37 h 101"/>
                <a:gd name="T4" fmla="*/ 15 w 144"/>
                <a:gd name="T5" fmla="*/ 65 h 101"/>
                <a:gd name="T6" fmla="*/ 37 w 144"/>
                <a:gd name="T7" fmla="*/ 87 h 101"/>
                <a:gd name="T8" fmla="*/ 107 w 144"/>
                <a:gd name="T9" fmla="*/ 87 h 101"/>
                <a:gd name="T10" fmla="*/ 130 w 144"/>
                <a:gd name="T11" fmla="*/ 65 h 101"/>
                <a:gd name="T12" fmla="*/ 130 w 144"/>
                <a:gd name="T13" fmla="*/ 37 h 101"/>
                <a:gd name="T14" fmla="*/ 107 w 144"/>
                <a:gd name="T15" fmla="*/ 15 h 101"/>
                <a:gd name="T16" fmla="*/ 37 w 144"/>
                <a:gd name="T17" fmla="*/ 15 h 101"/>
                <a:gd name="T18" fmla="*/ 107 w 144"/>
                <a:gd name="T19" fmla="*/ 101 h 101"/>
                <a:gd name="T20" fmla="*/ 37 w 144"/>
                <a:gd name="T21" fmla="*/ 101 h 101"/>
                <a:gd name="T22" fmla="*/ 0 w 144"/>
                <a:gd name="T23" fmla="*/ 65 h 101"/>
                <a:gd name="T24" fmla="*/ 0 w 144"/>
                <a:gd name="T25" fmla="*/ 37 h 101"/>
                <a:gd name="T26" fmla="*/ 37 w 144"/>
                <a:gd name="T27" fmla="*/ 0 h 101"/>
                <a:gd name="T28" fmla="*/ 107 w 144"/>
                <a:gd name="T29" fmla="*/ 0 h 101"/>
                <a:gd name="T30" fmla="*/ 144 w 144"/>
                <a:gd name="T31" fmla="*/ 37 h 101"/>
                <a:gd name="T32" fmla="*/ 144 w 144"/>
                <a:gd name="T33" fmla="*/ 65 h 101"/>
                <a:gd name="T34" fmla="*/ 107 w 144"/>
                <a:gd name="T3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01">
                  <a:moveTo>
                    <a:pt x="37" y="15"/>
                  </a:moveTo>
                  <a:cubicBezTo>
                    <a:pt x="24" y="15"/>
                    <a:pt x="15" y="25"/>
                    <a:pt x="15" y="37"/>
                  </a:cubicBezTo>
                  <a:lnTo>
                    <a:pt x="15" y="65"/>
                  </a:lnTo>
                  <a:cubicBezTo>
                    <a:pt x="15" y="77"/>
                    <a:pt x="24" y="87"/>
                    <a:pt x="37" y="87"/>
                  </a:cubicBezTo>
                  <a:lnTo>
                    <a:pt x="107" y="87"/>
                  </a:lnTo>
                  <a:cubicBezTo>
                    <a:pt x="120" y="87"/>
                    <a:pt x="130" y="77"/>
                    <a:pt x="130" y="65"/>
                  </a:cubicBezTo>
                  <a:lnTo>
                    <a:pt x="130" y="37"/>
                  </a:lnTo>
                  <a:cubicBezTo>
                    <a:pt x="130" y="25"/>
                    <a:pt x="120" y="15"/>
                    <a:pt x="107" y="15"/>
                  </a:cubicBezTo>
                  <a:lnTo>
                    <a:pt x="37" y="15"/>
                  </a:lnTo>
                  <a:close/>
                  <a:moveTo>
                    <a:pt x="107" y="101"/>
                  </a:moveTo>
                  <a:lnTo>
                    <a:pt x="37" y="101"/>
                  </a:lnTo>
                  <a:cubicBezTo>
                    <a:pt x="16" y="101"/>
                    <a:pt x="0" y="85"/>
                    <a:pt x="0" y="65"/>
                  </a:cubicBezTo>
                  <a:lnTo>
                    <a:pt x="0" y="37"/>
                  </a:lnTo>
                  <a:cubicBezTo>
                    <a:pt x="0" y="17"/>
                    <a:pt x="16" y="0"/>
                    <a:pt x="37" y="0"/>
                  </a:cubicBezTo>
                  <a:lnTo>
                    <a:pt x="107" y="0"/>
                  </a:lnTo>
                  <a:cubicBezTo>
                    <a:pt x="128" y="0"/>
                    <a:pt x="144" y="17"/>
                    <a:pt x="144" y="37"/>
                  </a:cubicBezTo>
                  <a:lnTo>
                    <a:pt x="144" y="65"/>
                  </a:lnTo>
                  <a:cubicBezTo>
                    <a:pt x="144" y="85"/>
                    <a:pt x="128" y="101"/>
                    <a:pt x="107" y="101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2" name="Freeform 684">
              <a:extLst>
                <a:ext uri="{FF2B5EF4-FFF2-40B4-BE49-F238E27FC236}">
                  <a16:creationId xmlns:a16="http://schemas.microsoft.com/office/drawing/2014/main" id="{C544603F-2156-2707-5A8D-B50DC6854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376" y="3470484"/>
              <a:ext cx="360409" cy="89444"/>
            </a:xfrm>
            <a:custGeom>
              <a:avLst/>
              <a:gdLst>
                <a:gd name="T0" fmla="*/ 230 w 238"/>
                <a:gd name="T1" fmla="*/ 59 h 59"/>
                <a:gd name="T2" fmla="*/ 223 w 238"/>
                <a:gd name="T3" fmla="*/ 54 h 59"/>
                <a:gd name="T4" fmla="*/ 206 w 238"/>
                <a:gd name="T5" fmla="*/ 17 h 59"/>
                <a:gd name="T6" fmla="*/ 10 w 238"/>
                <a:gd name="T7" fmla="*/ 59 h 59"/>
                <a:gd name="T8" fmla="*/ 1 w 238"/>
                <a:gd name="T9" fmla="*/ 53 h 59"/>
                <a:gd name="T10" fmla="*/ 7 w 238"/>
                <a:gd name="T11" fmla="*/ 44 h 59"/>
                <a:gd name="T12" fmla="*/ 209 w 238"/>
                <a:gd name="T13" fmla="*/ 1 h 59"/>
                <a:gd name="T14" fmla="*/ 217 w 238"/>
                <a:gd name="T15" fmla="*/ 5 h 59"/>
                <a:gd name="T16" fmla="*/ 236 w 238"/>
                <a:gd name="T17" fmla="*/ 49 h 59"/>
                <a:gd name="T18" fmla="*/ 232 w 238"/>
                <a:gd name="T19" fmla="*/ 58 h 59"/>
                <a:gd name="T20" fmla="*/ 230 w 238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8" h="59">
                  <a:moveTo>
                    <a:pt x="230" y="59"/>
                  </a:moveTo>
                  <a:cubicBezTo>
                    <a:pt x="227" y="59"/>
                    <a:pt x="224" y="57"/>
                    <a:pt x="223" y="54"/>
                  </a:cubicBezTo>
                  <a:lnTo>
                    <a:pt x="206" y="17"/>
                  </a:lnTo>
                  <a:lnTo>
                    <a:pt x="10" y="59"/>
                  </a:lnTo>
                  <a:cubicBezTo>
                    <a:pt x="6" y="59"/>
                    <a:pt x="2" y="57"/>
                    <a:pt x="1" y="53"/>
                  </a:cubicBezTo>
                  <a:cubicBezTo>
                    <a:pt x="0" y="49"/>
                    <a:pt x="3" y="45"/>
                    <a:pt x="7" y="44"/>
                  </a:cubicBezTo>
                  <a:lnTo>
                    <a:pt x="209" y="1"/>
                  </a:lnTo>
                  <a:cubicBezTo>
                    <a:pt x="213" y="0"/>
                    <a:pt x="216" y="2"/>
                    <a:pt x="217" y="5"/>
                  </a:cubicBezTo>
                  <a:lnTo>
                    <a:pt x="236" y="49"/>
                  </a:lnTo>
                  <a:cubicBezTo>
                    <a:pt x="238" y="52"/>
                    <a:pt x="236" y="57"/>
                    <a:pt x="232" y="58"/>
                  </a:cubicBezTo>
                  <a:cubicBezTo>
                    <a:pt x="232" y="59"/>
                    <a:pt x="231" y="59"/>
                    <a:pt x="230" y="5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8DD19FA-9294-9A94-8526-89D5BC5EBDEC}"/>
              </a:ext>
            </a:extLst>
          </p:cNvPr>
          <p:cNvGrpSpPr/>
          <p:nvPr/>
        </p:nvGrpSpPr>
        <p:grpSpPr>
          <a:xfrm>
            <a:off x="792590" y="2134761"/>
            <a:ext cx="1570868" cy="1874222"/>
            <a:chOff x="1324128" y="2655642"/>
            <a:chExt cx="652752" cy="778807"/>
          </a:xfrm>
        </p:grpSpPr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76EAB2FE-F8B5-BCB4-355B-94CDBF572E01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324128" y="2765309"/>
              <a:ext cx="652752" cy="669140"/>
            </a:xfrm>
            <a:custGeom>
              <a:avLst/>
              <a:gdLst>
                <a:gd name="T0" fmla="*/ 1817 w 2250"/>
                <a:gd name="T1" fmla="*/ 2293 h 2293"/>
                <a:gd name="T2" fmla="*/ 1806 w 2250"/>
                <a:gd name="T3" fmla="*/ 2292 h 2293"/>
                <a:gd name="T4" fmla="*/ 32 w 2250"/>
                <a:gd name="T5" fmla="*/ 1813 h 2293"/>
                <a:gd name="T6" fmla="*/ 6 w 2250"/>
                <a:gd name="T7" fmla="*/ 1793 h 2293"/>
                <a:gd name="T8" fmla="*/ 3 w 2250"/>
                <a:gd name="T9" fmla="*/ 1760 h 2293"/>
                <a:gd name="T10" fmla="*/ 575 w 2250"/>
                <a:gd name="T11" fmla="*/ 33 h 2293"/>
                <a:gd name="T12" fmla="*/ 626 w 2250"/>
                <a:gd name="T13" fmla="*/ 6 h 2293"/>
                <a:gd name="T14" fmla="*/ 2216 w 2250"/>
                <a:gd name="T15" fmla="*/ 434 h 2293"/>
                <a:gd name="T16" fmla="*/ 2245 w 2250"/>
                <a:gd name="T17" fmla="*/ 483 h 2293"/>
                <a:gd name="T18" fmla="*/ 2201 w 2250"/>
                <a:gd name="T19" fmla="*/ 687 h 2293"/>
                <a:gd name="T20" fmla="*/ 2151 w 2250"/>
                <a:gd name="T21" fmla="*/ 719 h 2293"/>
                <a:gd name="T22" fmla="*/ 2120 w 2250"/>
                <a:gd name="T23" fmla="*/ 669 h 2293"/>
                <a:gd name="T24" fmla="*/ 2156 w 2250"/>
                <a:gd name="T25" fmla="*/ 504 h 2293"/>
                <a:gd name="T26" fmla="*/ 642 w 2250"/>
                <a:gd name="T27" fmla="*/ 96 h 2293"/>
                <a:gd name="T28" fmla="*/ 96 w 2250"/>
                <a:gd name="T29" fmla="*/ 1744 h 2293"/>
                <a:gd name="T30" fmla="*/ 1786 w 2250"/>
                <a:gd name="T31" fmla="*/ 2200 h 2293"/>
                <a:gd name="T32" fmla="*/ 2076 w 2250"/>
                <a:gd name="T33" fmla="*/ 871 h 2293"/>
                <a:gd name="T34" fmla="*/ 2125 w 2250"/>
                <a:gd name="T35" fmla="*/ 839 h 2293"/>
                <a:gd name="T36" fmla="*/ 2157 w 2250"/>
                <a:gd name="T37" fmla="*/ 888 h 2293"/>
                <a:gd name="T38" fmla="*/ 1858 w 2250"/>
                <a:gd name="T39" fmla="*/ 2260 h 2293"/>
                <a:gd name="T40" fmla="*/ 1839 w 2250"/>
                <a:gd name="T41" fmla="*/ 2287 h 2293"/>
                <a:gd name="T42" fmla="*/ 1817 w 2250"/>
                <a:gd name="T43" fmla="*/ 229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50" h="2293">
                  <a:moveTo>
                    <a:pt x="1817" y="2293"/>
                  </a:moveTo>
                  <a:cubicBezTo>
                    <a:pt x="1813" y="2293"/>
                    <a:pt x="1810" y="2293"/>
                    <a:pt x="1806" y="2292"/>
                  </a:cubicBezTo>
                  <a:lnTo>
                    <a:pt x="32" y="1813"/>
                  </a:lnTo>
                  <a:cubicBezTo>
                    <a:pt x="21" y="1810"/>
                    <a:pt x="11" y="1803"/>
                    <a:pt x="6" y="1793"/>
                  </a:cubicBezTo>
                  <a:cubicBezTo>
                    <a:pt x="1" y="1783"/>
                    <a:pt x="0" y="1771"/>
                    <a:pt x="3" y="1760"/>
                  </a:cubicBezTo>
                  <a:lnTo>
                    <a:pt x="575" y="33"/>
                  </a:lnTo>
                  <a:cubicBezTo>
                    <a:pt x="582" y="12"/>
                    <a:pt x="605" y="0"/>
                    <a:pt x="626" y="6"/>
                  </a:cubicBezTo>
                  <a:lnTo>
                    <a:pt x="2216" y="434"/>
                  </a:lnTo>
                  <a:cubicBezTo>
                    <a:pt x="2237" y="440"/>
                    <a:pt x="2250" y="462"/>
                    <a:pt x="2245" y="483"/>
                  </a:cubicBezTo>
                  <a:lnTo>
                    <a:pt x="2201" y="687"/>
                  </a:lnTo>
                  <a:cubicBezTo>
                    <a:pt x="2196" y="710"/>
                    <a:pt x="2174" y="724"/>
                    <a:pt x="2151" y="719"/>
                  </a:cubicBezTo>
                  <a:cubicBezTo>
                    <a:pt x="2129" y="714"/>
                    <a:pt x="2115" y="692"/>
                    <a:pt x="2120" y="669"/>
                  </a:cubicBezTo>
                  <a:lnTo>
                    <a:pt x="2156" y="504"/>
                  </a:lnTo>
                  <a:lnTo>
                    <a:pt x="642" y="96"/>
                  </a:lnTo>
                  <a:lnTo>
                    <a:pt x="96" y="1744"/>
                  </a:lnTo>
                  <a:lnTo>
                    <a:pt x="1786" y="2200"/>
                  </a:lnTo>
                  <a:lnTo>
                    <a:pt x="2076" y="871"/>
                  </a:lnTo>
                  <a:cubicBezTo>
                    <a:pt x="2080" y="848"/>
                    <a:pt x="2103" y="834"/>
                    <a:pt x="2125" y="839"/>
                  </a:cubicBezTo>
                  <a:cubicBezTo>
                    <a:pt x="2148" y="844"/>
                    <a:pt x="2162" y="866"/>
                    <a:pt x="2157" y="888"/>
                  </a:cubicBezTo>
                  <a:lnTo>
                    <a:pt x="1858" y="2260"/>
                  </a:lnTo>
                  <a:cubicBezTo>
                    <a:pt x="1855" y="2272"/>
                    <a:pt x="1848" y="2281"/>
                    <a:pt x="1839" y="2287"/>
                  </a:cubicBezTo>
                  <a:cubicBezTo>
                    <a:pt x="1832" y="2291"/>
                    <a:pt x="1825" y="2293"/>
                    <a:pt x="1817" y="229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id="{1777B8E7-3A97-C17E-8435-69D36D08B25C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05953" y="2655642"/>
              <a:ext cx="325011" cy="215764"/>
            </a:xfrm>
            <a:custGeom>
              <a:avLst/>
              <a:gdLst>
                <a:gd name="T0" fmla="*/ 1023 w 1119"/>
                <a:gd name="T1" fmla="*/ 741 h 741"/>
                <a:gd name="T2" fmla="*/ 1015 w 1119"/>
                <a:gd name="T3" fmla="*/ 741 h 741"/>
                <a:gd name="T4" fmla="*/ 982 w 1119"/>
                <a:gd name="T5" fmla="*/ 692 h 741"/>
                <a:gd name="T6" fmla="*/ 650 w 1119"/>
                <a:gd name="T7" fmla="*/ 158 h 741"/>
                <a:gd name="T8" fmla="*/ 86 w 1119"/>
                <a:gd name="T9" fmla="*/ 478 h 741"/>
                <a:gd name="T10" fmla="*/ 35 w 1119"/>
                <a:gd name="T11" fmla="*/ 507 h 741"/>
                <a:gd name="T12" fmla="*/ 6 w 1119"/>
                <a:gd name="T13" fmla="*/ 456 h 741"/>
                <a:gd name="T14" fmla="*/ 672 w 1119"/>
                <a:gd name="T15" fmla="*/ 77 h 741"/>
                <a:gd name="T16" fmla="*/ 1064 w 1119"/>
                <a:gd name="T17" fmla="*/ 708 h 741"/>
                <a:gd name="T18" fmla="*/ 1023 w 1119"/>
                <a:gd name="T1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9" h="741">
                  <a:moveTo>
                    <a:pt x="1023" y="741"/>
                  </a:moveTo>
                  <a:cubicBezTo>
                    <a:pt x="1021" y="741"/>
                    <a:pt x="1018" y="741"/>
                    <a:pt x="1015" y="741"/>
                  </a:cubicBezTo>
                  <a:cubicBezTo>
                    <a:pt x="993" y="736"/>
                    <a:pt x="978" y="714"/>
                    <a:pt x="982" y="692"/>
                  </a:cubicBezTo>
                  <a:cubicBezTo>
                    <a:pt x="1029" y="455"/>
                    <a:pt x="883" y="221"/>
                    <a:pt x="650" y="158"/>
                  </a:cubicBezTo>
                  <a:cubicBezTo>
                    <a:pt x="407" y="92"/>
                    <a:pt x="154" y="236"/>
                    <a:pt x="86" y="478"/>
                  </a:cubicBezTo>
                  <a:cubicBezTo>
                    <a:pt x="80" y="501"/>
                    <a:pt x="57" y="514"/>
                    <a:pt x="35" y="507"/>
                  </a:cubicBezTo>
                  <a:cubicBezTo>
                    <a:pt x="13" y="501"/>
                    <a:pt x="0" y="478"/>
                    <a:pt x="6" y="456"/>
                  </a:cubicBezTo>
                  <a:cubicBezTo>
                    <a:pt x="86" y="170"/>
                    <a:pt x="385" y="0"/>
                    <a:pt x="672" y="77"/>
                  </a:cubicBezTo>
                  <a:cubicBezTo>
                    <a:pt x="947" y="152"/>
                    <a:pt x="1119" y="428"/>
                    <a:pt x="1064" y="708"/>
                  </a:cubicBezTo>
                  <a:cubicBezTo>
                    <a:pt x="1060" y="728"/>
                    <a:pt x="1043" y="741"/>
                    <a:pt x="1023" y="74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id="{A93BF74A-DDE4-AC0C-F494-0EB5D55ED926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506884" y="2877963"/>
              <a:ext cx="65548" cy="60086"/>
            </a:xfrm>
            <a:custGeom>
              <a:avLst/>
              <a:gdLst>
                <a:gd name="T0" fmla="*/ 115 w 229"/>
                <a:gd name="T1" fmla="*/ 83 h 206"/>
                <a:gd name="T2" fmla="*/ 96 w 229"/>
                <a:gd name="T3" fmla="*/ 98 h 206"/>
                <a:gd name="T4" fmla="*/ 110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5 w 229"/>
                <a:gd name="T11" fmla="*/ 83 h 206"/>
                <a:gd name="T12" fmla="*/ 115 w 229"/>
                <a:gd name="T13" fmla="*/ 206 h 206"/>
                <a:gd name="T14" fmla="*/ 88 w 229"/>
                <a:gd name="T15" fmla="*/ 203 h 206"/>
                <a:gd name="T16" fmla="*/ 15 w 229"/>
                <a:gd name="T17" fmla="*/ 76 h 206"/>
                <a:gd name="T18" fmla="*/ 115 w 229"/>
                <a:gd name="T19" fmla="*/ 0 h 206"/>
                <a:gd name="T20" fmla="*/ 142 w 229"/>
                <a:gd name="T21" fmla="*/ 3 h 206"/>
                <a:gd name="T22" fmla="*/ 214 w 229"/>
                <a:gd name="T23" fmla="*/ 130 h 206"/>
                <a:gd name="T24" fmla="*/ 115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5" y="83"/>
                  </a:moveTo>
                  <a:cubicBezTo>
                    <a:pt x="106" y="83"/>
                    <a:pt x="98" y="89"/>
                    <a:pt x="96" y="98"/>
                  </a:cubicBezTo>
                  <a:cubicBezTo>
                    <a:pt x="93" y="109"/>
                    <a:pt x="99" y="120"/>
                    <a:pt x="110" y="122"/>
                  </a:cubicBezTo>
                  <a:cubicBezTo>
                    <a:pt x="120" y="125"/>
                    <a:pt x="131" y="119"/>
                    <a:pt x="134" y="108"/>
                  </a:cubicBezTo>
                  <a:cubicBezTo>
                    <a:pt x="137" y="98"/>
                    <a:pt x="131" y="87"/>
                    <a:pt x="120" y="84"/>
                  </a:cubicBezTo>
                  <a:cubicBezTo>
                    <a:pt x="118" y="83"/>
                    <a:pt x="116" y="83"/>
                    <a:pt x="115" y="83"/>
                  </a:cubicBezTo>
                  <a:close/>
                  <a:moveTo>
                    <a:pt x="115" y="206"/>
                  </a:moveTo>
                  <a:cubicBezTo>
                    <a:pt x="106" y="206"/>
                    <a:pt x="97" y="205"/>
                    <a:pt x="88" y="203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5" y="0"/>
                  </a:cubicBezTo>
                  <a:cubicBezTo>
                    <a:pt x="124" y="0"/>
                    <a:pt x="133" y="1"/>
                    <a:pt x="142" y="3"/>
                  </a:cubicBezTo>
                  <a:cubicBezTo>
                    <a:pt x="197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5" y="2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3" name="Freeform 67">
              <a:extLst>
                <a:ext uri="{FF2B5EF4-FFF2-40B4-BE49-F238E27FC236}">
                  <a16:creationId xmlns:a16="http://schemas.microsoft.com/office/drawing/2014/main" id="{E73B8623-16E4-C266-41DB-3ED3ACC92F88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763906" y="2875250"/>
              <a:ext cx="65548" cy="60086"/>
            </a:xfrm>
            <a:custGeom>
              <a:avLst/>
              <a:gdLst>
                <a:gd name="T0" fmla="*/ 114 w 229"/>
                <a:gd name="T1" fmla="*/ 83 h 206"/>
                <a:gd name="T2" fmla="*/ 95 w 229"/>
                <a:gd name="T3" fmla="*/ 98 h 206"/>
                <a:gd name="T4" fmla="*/ 109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4 w 229"/>
                <a:gd name="T11" fmla="*/ 83 h 206"/>
                <a:gd name="T12" fmla="*/ 114 w 229"/>
                <a:gd name="T13" fmla="*/ 206 h 206"/>
                <a:gd name="T14" fmla="*/ 88 w 229"/>
                <a:gd name="T15" fmla="*/ 202 h 206"/>
                <a:gd name="T16" fmla="*/ 15 w 229"/>
                <a:gd name="T17" fmla="*/ 76 h 206"/>
                <a:gd name="T18" fmla="*/ 114 w 229"/>
                <a:gd name="T19" fmla="*/ 0 h 206"/>
                <a:gd name="T20" fmla="*/ 141 w 229"/>
                <a:gd name="T21" fmla="*/ 3 h 206"/>
                <a:gd name="T22" fmla="*/ 214 w 229"/>
                <a:gd name="T23" fmla="*/ 130 h 206"/>
                <a:gd name="T24" fmla="*/ 114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4" y="83"/>
                  </a:moveTo>
                  <a:cubicBezTo>
                    <a:pt x="105" y="83"/>
                    <a:pt x="97" y="89"/>
                    <a:pt x="95" y="98"/>
                  </a:cubicBezTo>
                  <a:cubicBezTo>
                    <a:pt x="92" y="108"/>
                    <a:pt x="99" y="119"/>
                    <a:pt x="109" y="122"/>
                  </a:cubicBezTo>
                  <a:cubicBezTo>
                    <a:pt x="120" y="125"/>
                    <a:pt x="131" y="118"/>
                    <a:pt x="134" y="108"/>
                  </a:cubicBezTo>
                  <a:cubicBezTo>
                    <a:pt x="136" y="97"/>
                    <a:pt x="130" y="86"/>
                    <a:pt x="120" y="84"/>
                  </a:cubicBezTo>
                  <a:cubicBezTo>
                    <a:pt x="118" y="83"/>
                    <a:pt x="116" y="83"/>
                    <a:pt x="114" y="83"/>
                  </a:cubicBezTo>
                  <a:close/>
                  <a:moveTo>
                    <a:pt x="114" y="206"/>
                  </a:moveTo>
                  <a:cubicBezTo>
                    <a:pt x="105" y="206"/>
                    <a:pt x="96" y="205"/>
                    <a:pt x="88" y="202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4" y="0"/>
                  </a:cubicBezTo>
                  <a:cubicBezTo>
                    <a:pt x="123" y="0"/>
                    <a:pt x="132" y="1"/>
                    <a:pt x="141" y="3"/>
                  </a:cubicBezTo>
                  <a:cubicBezTo>
                    <a:pt x="196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4" y="20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4" name="Freeform 68">
              <a:extLst>
                <a:ext uri="{FF2B5EF4-FFF2-40B4-BE49-F238E27FC236}">
                  <a16:creationId xmlns:a16="http://schemas.microsoft.com/office/drawing/2014/main" id="{DD758AEF-8E01-57A4-2AAB-09DCF66D7084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32927" y="2859857"/>
              <a:ext cx="273118" cy="92860"/>
            </a:xfrm>
            <a:custGeom>
              <a:avLst/>
              <a:gdLst>
                <a:gd name="T0" fmla="*/ 899 w 945"/>
                <a:gd name="T1" fmla="*/ 318 h 318"/>
                <a:gd name="T2" fmla="*/ 888 w 945"/>
                <a:gd name="T3" fmla="*/ 316 h 318"/>
                <a:gd name="T4" fmla="*/ 35 w 945"/>
                <a:gd name="T5" fmla="*/ 86 h 318"/>
                <a:gd name="T6" fmla="*/ 6 w 945"/>
                <a:gd name="T7" fmla="*/ 35 h 318"/>
                <a:gd name="T8" fmla="*/ 57 w 945"/>
                <a:gd name="T9" fmla="*/ 6 h 318"/>
                <a:gd name="T10" fmla="*/ 910 w 945"/>
                <a:gd name="T11" fmla="*/ 236 h 318"/>
                <a:gd name="T12" fmla="*/ 939 w 945"/>
                <a:gd name="T13" fmla="*/ 287 h 318"/>
                <a:gd name="T14" fmla="*/ 899 w 945"/>
                <a:gd name="T1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5" h="318">
                  <a:moveTo>
                    <a:pt x="899" y="318"/>
                  </a:moveTo>
                  <a:cubicBezTo>
                    <a:pt x="895" y="318"/>
                    <a:pt x="892" y="317"/>
                    <a:pt x="888" y="316"/>
                  </a:cubicBezTo>
                  <a:lnTo>
                    <a:pt x="35" y="86"/>
                  </a:lnTo>
                  <a:cubicBezTo>
                    <a:pt x="13" y="80"/>
                    <a:pt x="0" y="57"/>
                    <a:pt x="6" y="35"/>
                  </a:cubicBezTo>
                  <a:cubicBezTo>
                    <a:pt x="12" y="13"/>
                    <a:pt x="35" y="0"/>
                    <a:pt x="57" y="6"/>
                  </a:cubicBezTo>
                  <a:lnTo>
                    <a:pt x="910" y="236"/>
                  </a:lnTo>
                  <a:cubicBezTo>
                    <a:pt x="932" y="242"/>
                    <a:pt x="945" y="264"/>
                    <a:pt x="939" y="287"/>
                  </a:cubicBezTo>
                  <a:cubicBezTo>
                    <a:pt x="934" y="305"/>
                    <a:pt x="917" y="318"/>
                    <a:pt x="899" y="3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2DEC57D-E1C1-E885-A8EA-ADF48079F4C0}"/>
              </a:ext>
            </a:extLst>
          </p:cNvPr>
          <p:cNvGrpSpPr/>
          <p:nvPr/>
        </p:nvGrpSpPr>
        <p:grpSpPr>
          <a:xfrm>
            <a:off x="1570706" y="3110870"/>
            <a:ext cx="620751" cy="639335"/>
            <a:chOff x="1239637" y="3359484"/>
            <a:chExt cx="620751" cy="639335"/>
          </a:xfrm>
        </p:grpSpPr>
        <p:sp>
          <p:nvSpPr>
            <p:cNvPr id="10" name="Freeform 631">
              <a:extLst>
                <a:ext uri="{FF2B5EF4-FFF2-40B4-BE49-F238E27FC236}">
                  <a16:creationId xmlns:a16="http://schemas.microsoft.com/office/drawing/2014/main" id="{F55DAC25-3B1C-932E-FE81-C3B7FC6A9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2924" y="3359484"/>
              <a:ext cx="323386" cy="297365"/>
            </a:xfrm>
            <a:custGeom>
              <a:avLst/>
              <a:gdLst>
                <a:gd name="T0" fmla="*/ 66 w 226"/>
                <a:gd name="T1" fmla="*/ 23 h 209"/>
                <a:gd name="T2" fmla="*/ 31 w 226"/>
                <a:gd name="T3" fmla="*/ 37 h 209"/>
                <a:gd name="T4" fmla="*/ 17 w 226"/>
                <a:gd name="T5" fmla="*/ 72 h 209"/>
                <a:gd name="T6" fmla="*/ 31 w 226"/>
                <a:gd name="T7" fmla="*/ 107 h 209"/>
                <a:gd name="T8" fmla="*/ 110 w 226"/>
                <a:gd name="T9" fmla="*/ 186 h 209"/>
                <a:gd name="T10" fmla="*/ 189 w 226"/>
                <a:gd name="T11" fmla="*/ 107 h 209"/>
                <a:gd name="T12" fmla="*/ 189 w 226"/>
                <a:gd name="T13" fmla="*/ 37 h 209"/>
                <a:gd name="T14" fmla="*/ 119 w 226"/>
                <a:gd name="T15" fmla="*/ 37 h 209"/>
                <a:gd name="T16" fmla="*/ 110 w 226"/>
                <a:gd name="T17" fmla="*/ 46 h 209"/>
                <a:gd name="T18" fmla="*/ 101 w 226"/>
                <a:gd name="T19" fmla="*/ 37 h 209"/>
                <a:gd name="T20" fmla="*/ 66 w 226"/>
                <a:gd name="T21" fmla="*/ 23 h 209"/>
                <a:gd name="T22" fmla="*/ 110 w 226"/>
                <a:gd name="T23" fmla="*/ 209 h 209"/>
                <a:gd name="T24" fmla="*/ 19 w 226"/>
                <a:gd name="T25" fmla="*/ 119 h 209"/>
                <a:gd name="T26" fmla="*/ 0 w 226"/>
                <a:gd name="T27" fmla="*/ 72 h 209"/>
                <a:gd name="T28" fmla="*/ 19 w 226"/>
                <a:gd name="T29" fmla="*/ 26 h 209"/>
                <a:gd name="T30" fmla="*/ 110 w 226"/>
                <a:gd name="T31" fmla="*/ 23 h 209"/>
                <a:gd name="T32" fmla="*/ 200 w 226"/>
                <a:gd name="T33" fmla="*/ 26 h 209"/>
                <a:gd name="T34" fmla="*/ 200 w 226"/>
                <a:gd name="T35" fmla="*/ 119 h 209"/>
                <a:gd name="T36" fmla="*/ 110 w 226"/>
                <a:gd name="T37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6" h="209">
                  <a:moveTo>
                    <a:pt x="66" y="23"/>
                  </a:moveTo>
                  <a:cubicBezTo>
                    <a:pt x="53" y="23"/>
                    <a:pt x="40" y="28"/>
                    <a:pt x="31" y="37"/>
                  </a:cubicBezTo>
                  <a:cubicBezTo>
                    <a:pt x="22" y="47"/>
                    <a:pt x="17" y="59"/>
                    <a:pt x="17" y="72"/>
                  </a:cubicBezTo>
                  <a:cubicBezTo>
                    <a:pt x="17" y="85"/>
                    <a:pt x="22" y="98"/>
                    <a:pt x="31" y="107"/>
                  </a:cubicBezTo>
                  <a:lnTo>
                    <a:pt x="110" y="186"/>
                  </a:lnTo>
                  <a:lnTo>
                    <a:pt x="189" y="107"/>
                  </a:lnTo>
                  <a:cubicBezTo>
                    <a:pt x="208" y="88"/>
                    <a:pt x="208" y="57"/>
                    <a:pt x="189" y="37"/>
                  </a:cubicBezTo>
                  <a:cubicBezTo>
                    <a:pt x="170" y="19"/>
                    <a:pt x="137" y="19"/>
                    <a:pt x="119" y="37"/>
                  </a:cubicBezTo>
                  <a:lnTo>
                    <a:pt x="110" y="46"/>
                  </a:lnTo>
                  <a:lnTo>
                    <a:pt x="101" y="37"/>
                  </a:lnTo>
                  <a:cubicBezTo>
                    <a:pt x="92" y="28"/>
                    <a:pt x="79" y="23"/>
                    <a:pt x="66" y="23"/>
                  </a:cubicBezTo>
                  <a:close/>
                  <a:moveTo>
                    <a:pt x="110" y="209"/>
                  </a:moveTo>
                  <a:lnTo>
                    <a:pt x="19" y="119"/>
                  </a:lnTo>
                  <a:cubicBezTo>
                    <a:pt x="7" y="106"/>
                    <a:pt x="0" y="90"/>
                    <a:pt x="0" y="72"/>
                  </a:cubicBezTo>
                  <a:cubicBezTo>
                    <a:pt x="0" y="55"/>
                    <a:pt x="7" y="38"/>
                    <a:pt x="19" y="26"/>
                  </a:cubicBezTo>
                  <a:cubicBezTo>
                    <a:pt x="43" y="1"/>
                    <a:pt x="85" y="0"/>
                    <a:pt x="110" y="23"/>
                  </a:cubicBezTo>
                  <a:cubicBezTo>
                    <a:pt x="135" y="0"/>
                    <a:pt x="176" y="1"/>
                    <a:pt x="200" y="26"/>
                  </a:cubicBezTo>
                  <a:cubicBezTo>
                    <a:pt x="226" y="51"/>
                    <a:pt x="226" y="93"/>
                    <a:pt x="200" y="119"/>
                  </a:cubicBezTo>
                  <a:lnTo>
                    <a:pt x="110" y="209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" name="Freeform 632">
              <a:extLst>
                <a:ext uri="{FF2B5EF4-FFF2-40B4-BE49-F238E27FC236}">
                  <a16:creationId xmlns:a16="http://schemas.microsoft.com/office/drawing/2014/main" id="{C44037DA-6387-7A66-6CE0-663855CA32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637" y="3694020"/>
              <a:ext cx="364272" cy="178419"/>
            </a:xfrm>
            <a:custGeom>
              <a:avLst/>
              <a:gdLst>
                <a:gd name="T0" fmla="*/ 12 w 254"/>
                <a:gd name="T1" fmla="*/ 123 h 123"/>
                <a:gd name="T2" fmla="*/ 0 w 254"/>
                <a:gd name="T3" fmla="*/ 111 h 123"/>
                <a:gd name="T4" fmla="*/ 88 w 254"/>
                <a:gd name="T5" fmla="*/ 23 h 123"/>
                <a:gd name="T6" fmla="*/ 137 w 254"/>
                <a:gd name="T7" fmla="*/ 2 h 123"/>
                <a:gd name="T8" fmla="*/ 210 w 254"/>
                <a:gd name="T9" fmla="*/ 0 h 123"/>
                <a:gd name="T10" fmla="*/ 241 w 254"/>
                <a:gd name="T11" fmla="*/ 13 h 123"/>
                <a:gd name="T12" fmla="*/ 254 w 254"/>
                <a:gd name="T13" fmla="*/ 43 h 123"/>
                <a:gd name="T14" fmla="*/ 212 w 254"/>
                <a:gd name="T15" fmla="*/ 87 h 123"/>
                <a:gd name="T16" fmla="*/ 160 w 254"/>
                <a:gd name="T17" fmla="*/ 88 h 123"/>
                <a:gd name="T18" fmla="*/ 159 w 254"/>
                <a:gd name="T19" fmla="*/ 71 h 123"/>
                <a:gd name="T20" fmla="*/ 212 w 254"/>
                <a:gd name="T21" fmla="*/ 70 h 123"/>
                <a:gd name="T22" fmla="*/ 238 w 254"/>
                <a:gd name="T23" fmla="*/ 43 h 123"/>
                <a:gd name="T24" fmla="*/ 230 w 254"/>
                <a:gd name="T25" fmla="*/ 25 h 123"/>
                <a:gd name="T26" fmla="*/ 211 w 254"/>
                <a:gd name="T27" fmla="*/ 17 h 123"/>
                <a:gd name="T28" fmla="*/ 138 w 254"/>
                <a:gd name="T29" fmla="*/ 18 h 123"/>
                <a:gd name="T30" fmla="*/ 100 w 254"/>
                <a:gd name="T31" fmla="*/ 34 h 123"/>
                <a:gd name="T32" fmla="*/ 12 w 254"/>
                <a:gd name="T3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4" h="123">
                  <a:moveTo>
                    <a:pt x="12" y="123"/>
                  </a:moveTo>
                  <a:lnTo>
                    <a:pt x="0" y="111"/>
                  </a:lnTo>
                  <a:lnTo>
                    <a:pt x="88" y="23"/>
                  </a:lnTo>
                  <a:cubicBezTo>
                    <a:pt x="101" y="9"/>
                    <a:pt x="119" y="2"/>
                    <a:pt x="137" y="2"/>
                  </a:cubicBezTo>
                  <a:lnTo>
                    <a:pt x="210" y="0"/>
                  </a:lnTo>
                  <a:cubicBezTo>
                    <a:pt x="222" y="1"/>
                    <a:pt x="233" y="5"/>
                    <a:pt x="241" y="13"/>
                  </a:cubicBezTo>
                  <a:cubicBezTo>
                    <a:pt x="250" y="21"/>
                    <a:pt x="254" y="32"/>
                    <a:pt x="254" y="43"/>
                  </a:cubicBezTo>
                  <a:cubicBezTo>
                    <a:pt x="254" y="67"/>
                    <a:pt x="235" y="86"/>
                    <a:pt x="212" y="87"/>
                  </a:cubicBezTo>
                  <a:lnTo>
                    <a:pt x="160" y="88"/>
                  </a:lnTo>
                  <a:lnTo>
                    <a:pt x="159" y="71"/>
                  </a:lnTo>
                  <a:lnTo>
                    <a:pt x="212" y="70"/>
                  </a:lnTo>
                  <a:cubicBezTo>
                    <a:pt x="226" y="70"/>
                    <a:pt x="238" y="58"/>
                    <a:pt x="238" y="43"/>
                  </a:cubicBezTo>
                  <a:cubicBezTo>
                    <a:pt x="238" y="36"/>
                    <a:pt x="235" y="30"/>
                    <a:pt x="230" y="25"/>
                  </a:cubicBezTo>
                  <a:cubicBezTo>
                    <a:pt x="225" y="20"/>
                    <a:pt x="218" y="17"/>
                    <a:pt x="211" y="17"/>
                  </a:cubicBezTo>
                  <a:lnTo>
                    <a:pt x="138" y="18"/>
                  </a:lnTo>
                  <a:cubicBezTo>
                    <a:pt x="123" y="19"/>
                    <a:pt x="110" y="24"/>
                    <a:pt x="100" y="34"/>
                  </a:cubicBezTo>
                  <a:lnTo>
                    <a:pt x="12" y="123"/>
                  </a:lnTo>
                </a:path>
              </a:pathLst>
            </a:custGeom>
            <a:solidFill>
              <a:schemeClr val="accent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" name="Freeform 633">
              <a:extLst>
                <a:ext uri="{FF2B5EF4-FFF2-40B4-BE49-F238E27FC236}">
                  <a16:creationId xmlns:a16="http://schemas.microsoft.com/office/drawing/2014/main" id="{22431CFB-8146-72BB-8F3B-37ED028AD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6017" y="3656849"/>
              <a:ext cx="494371" cy="341970"/>
            </a:xfrm>
            <a:custGeom>
              <a:avLst/>
              <a:gdLst>
                <a:gd name="T0" fmla="*/ 12 w 346"/>
                <a:gd name="T1" fmla="*/ 239 h 239"/>
                <a:gd name="T2" fmla="*/ 0 w 346"/>
                <a:gd name="T3" fmla="*/ 227 h 239"/>
                <a:gd name="T4" fmla="*/ 6 w 346"/>
                <a:gd name="T5" fmla="*/ 221 h 239"/>
                <a:gd name="T6" fmla="*/ 51 w 346"/>
                <a:gd name="T7" fmla="*/ 196 h 239"/>
                <a:gd name="T8" fmla="*/ 180 w 346"/>
                <a:gd name="T9" fmla="*/ 163 h 239"/>
                <a:gd name="T10" fmla="*/ 253 w 346"/>
                <a:gd name="T11" fmla="*/ 122 h 239"/>
                <a:gd name="T12" fmla="*/ 320 w 346"/>
                <a:gd name="T13" fmla="*/ 54 h 239"/>
                <a:gd name="T14" fmla="*/ 320 w 346"/>
                <a:gd name="T15" fmla="*/ 26 h 239"/>
                <a:gd name="T16" fmla="*/ 291 w 346"/>
                <a:gd name="T17" fmla="*/ 26 h 239"/>
                <a:gd name="T18" fmla="*/ 232 w 346"/>
                <a:gd name="T19" fmla="*/ 85 h 239"/>
                <a:gd name="T20" fmla="*/ 164 w 346"/>
                <a:gd name="T21" fmla="*/ 114 h 239"/>
                <a:gd name="T22" fmla="*/ 55 w 346"/>
                <a:gd name="T23" fmla="*/ 116 h 239"/>
                <a:gd name="T24" fmla="*/ 55 w 346"/>
                <a:gd name="T25" fmla="*/ 99 h 239"/>
                <a:gd name="T26" fmla="*/ 164 w 346"/>
                <a:gd name="T27" fmla="*/ 97 h 239"/>
                <a:gd name="T28" fmla="*/ 221 w 346"/>
                <a:gd name="T29" fmla="*/ 73 h 239"/>
                <a:gd name="T30" fmla="*/ 279 w 346"/>
                <a:gd name="T31" fmla="*/ 14 h 239"/>
                <a:gd name="T32" fmla="*/ 332 w 346"/>
                <a:gd name="T33" fmla="*/ 14 h 239"/>
                <a:gd name="T34" fmla="*/ 332 w 346"/>
                <a:gd name="T35" fmla="*/ 66 h 239"/>
                <a:gd name="T36" fmla="*/ 265 w 346"/>
                <a:gd name="T37" fmla="*/ 133 h 239"/>
                <a:gd name="T38" fmla="*/ 184 w 346"/>
                <a:gd name="T39" fmla="*/ 179 h 239"/>
                <a:gd name="T40" fmla="*/ 55 w 346"/>
                <a:gd name="T41" fmla="*/ 212 h 239"/>
                <a:gd name="T42" fmla="*/ 18 w 346"/>
                <a:gd name="T43" fmla="*/ 233 h 239"/>
                <a:gd name="T44" fmla="*/ 12 w 346"/>
                <a:gd name="T45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46" h="239">
                  <a:moveTo>
                    <a:pt x="12" y="239"/>
                  </a:moveTo>
                  <a:lnTo>
                    <a:pt x="0" y="227"/>
                  </a:lnTo>
                  <a:lnTo>
                    <a:pt x="6" y="221"/>
                  </a:lnTo>
                  <a:cubicBezTo>
                    <a:pt x="18" y="209"/>
                    <a:pt x="34" y="200"/>
                    <a:pt x="51" y="196"/>
                  </a:cubicBezTo>
                  <a:lnTo>
                    <a:pt x="180" y="163"/>
                  </a:lnTo>
                  <a:cubicBezTo>
                    <a:pt x="207" y="156"/>
                    <a:pt x="233" y="142"/>
                    <a:pt x="253" y="122"/>
                  </a:cubicBezTo>
                  <a:lnTo>
                    <a:pt x="320" y="54"/>
                  </a:lnTo>
                  <a:cubicBezTo>
                    <a:pt x="328" y="47"/>
                    <a:pt x="328" y="34"/>
                    <a:pt x="320" y="26"/>
                  </a:cubicBezTo>
                  <a:cubicBezTo>
                    <a:pt x="312" y="18"/>
                    <a:pt x="299" y="18"/>
                    <a:pt x="291" y="26"/>
                  </a:cubicBezTo>
                  <a:lnTo>
                    <a:pt x="232" y="85"/>
                  </a:lnTo>
                  <a:cubicBezTo>
                    <a:pt x="214" y="103"/>
                    <a:pt x="190" y="113"/>
                    <a:pt x="164" y="114"/>
                  </a:cubicBezTo>
                  <a:lnTo>
                    <a:pt x="55" y="116"/>
                  </a:lnTo>
                  <a:lnTo>
                    <a:pt x="55" y="99"/>
                  </a:lnTo>
                  <a:lnTo>
                    <a:pt x="164" y="97"/>
                  </a:lnTo>
                  <a:cubicBezTo>
                    <a:pt x="185" y="97"/>
                    <a:pt x="206" y="88"/>
                    <a:pt x="221" y="73"/>
                  </a:cubicBezTo>
                  <a:lnTo>
                    <a:pt x="279" y="14"/>
                  </a:lnTo>
                  <a:cubicBezTo>
                    <a:pt x="293" y="0"/>
                    <a:pt x="318" y="0"/>
                    <a:pt x="332" y="14"/>
                  </a:cubicBezTo>
                  <a:cubicBezTo>
                    <a:pt x="346" y="28"/>
                    <a:pt x="346" y="52"/>
                    <a:pt x="332" y="66"/>
                  </a:cubicBezTo>
                  <a:lnTo>
                    <a:pt x="265" y="133"/>
                  </a:lnTo>
                  <a:cubicBezTo>
                    <a:pt x="242" y="156"/>
                    <a:pt x="214" y="171"/>
                    <a:pt x="184" y="179"/>
                  </a:cubicBezTo>
                  <a:lnTo>
                    <a:pt x="55" y="212"/>
                  </a:lnTo>
                  <a:cubicBezTo>
                    <a:pt x="41" y="216"/>
                    <a:pt x="28" y="223"/>
                    <a:pt x="18" y="233"/>
                  </a:cubicBezTo>
                  <a:lnTo>
                    <a:pt x="12" y="239"/>
                  </a:lnTo>
                </a:path>
              </a:pathLst>
            </a:custGeom>
            <a:solidFill>
              <a:schemeClr val="accent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634">
              <a:extLst>
                <a:ext uri="{FF2B5EF4-FFF2-40B4-BE49-F238E27FC236}">
                  <a16:creationId xmlns:a16="http://schemas.microsoft.com/office/drawing/2014/main" id="{49514E36-F90F-E5A1-5A40-B06E8D812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4173" y="3656849"/>
              <a:ext cx="182137" cy="133814"/>
            </a:xfrm>
            <a:custGeom>
              <a:avLst/>
              <a:gdLst>
                <a:gd name="T0" fmla="*/ 12 w 127"/>
                <a:gd name="T1" fmla="*/ 94 h 94"/>
                <a:gd name="T2" fmla="*/ 0 w 127"/>
                <a:gd name="T3" fmla="*/ 82 h 94"/>
                <a:gd name="T4" fmla="*/ 72 w 127"/>
                <a:gd name="T5" fmla="*/ 10 h 94"/>
                <a:gd name="T6" fmla="*/ 97 w 127"/>
                <a:gd name="T7" fmla="*/ 1 h 94"/>
                <a:gd name="T8" fmla="*/ 123 w 127"/>
                <a:gd name="T9" fmla="*/ 21 h 94"/>
                <a:gd name="T10" fmla="*/ 116 w 127"/>
                <a:gd name="T11" fmla="*/ 53 h 94"/>
                <a:gd name="T12" fmla="*/ 104 w 127"/>
                <a:gd name="T13" fmla="*/ 42 h 94"/>
                <a:gd name="T14" fmla="*/ 107 w 127"/>
                <a:gd name="T15" fmla="*/ 27 h 94"/>
                <a:gd name="T16" fmla="*/ 95 w 127"/>
                <a:gd name="T17" fmla="*/ 18 h 94"/>
                <a:gd name="T18" fmla="*/ 84 w 127"/>
                <a:gd name="T19" fmla="*/ 22 h 94"/>
                <a:gd name="T20" fmla="*/ 12 w 127"/>
                <a:gd name="T2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7" h="94">
                  <a:moveTo>
                    <a:pt x="12" y="94"/>
                  </a:moveTo>
                  <a:lnTo>
                    <a:pt x="0" y="82"/>
                  </a:lnTo>
                  <a:lnTo>
                    <a:pt x="72" y="10"/>
                  </a:lnTo>
                  <a:cubicBezTo>
                    <a:pt x="79" y="3"/>
                    <a:pt x="88" y="0"/>
                    <a:pt x="97" y="1"/>
                  </a:cubicBezTo>
                  <a:cubicBezTo>
                    <a:pt x="109" y="2"/>
                    <a:pt x="119" y="10"/>
                    <a:pt x="123" y="21"/>
                  </a:cubicBezTo>
                  <a:cubicBezTo>
                    <a:pt x="127" y="33"/>
                    <a:pt x="124" y="45"/>
                    <a:pt x="116" y="53"/>
                  </a:cubicBezTo>
                  <a:lnTo>
                    <a:pt x="104" y="42"/>
                  </a:lnTo>
                  <a:cubicBezTo>
                    <a:pt x="108" y="38"/>
                    <a:pt x="109" y="32"/>
                    <a:pt x="107" y="27"/>
                  </a:cubicBezTo>
                  <a:cubicBezTo>
                    <a:pt x="105" y="22"/>
                    <a:pt x="101" y="18"/>
                    <a:pt x="95" y="18"/>
                  </a:cubicBezTo>
                  <a:cubicBezTo>
                    <a:pt x="91" y="17"/>
                    <a:pt x="87" y="19"/>
                    <a:pt x="84" y="22"/>
                  </a:cubicBezTo>
                  <a:lnTo>
                    <a:pt x="12" y="94"/>
                  </a:lnTo>
                </a:path>
              </a:pathLst>
            </a:custGeom>
            <a:solidFill>
              <a:schemeClr val="accent1"/>
            </a:solidFill>
            <a:ln w="63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6" name="Internet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B69FA9F-D9E4-FA65-ED95-9D5404EFC392}"/>
              </a:ext>
            </a:extLst>
          </p:cNvPr>
          <p:cNvSpPr>
            <a:spLocks noChangeAspect="1"/>
          </p:cNvSpPr>
          <p:nvPr/>
        </p:nvSpPr>
        <p:spPr>
          <a:xfrm>
            <a:off x="7510703" y="2807121"/>
            <a:ext cx="572502" cy="572502"/>
          </a:xfrm>
          <a:custGeom>
            <a:avLst/>
            <a:gdLst>
              <a:gd name="connsiteX0" fmla="*/ 384453 w 730787"/>
              <a:gd name="connsiteY0" fmla="*/ 0 h 730787"/>
              <a:gd name="connsiteX1" fmla="*/ 620361 w 730787"/>
              <a:gd name="connsiteY1" fmla="*/ 103999 h 730787"/>
              <a:gd name="connsiteX2" fmla="*/ 730787 w 730787"/>
              <a:gd name="connsiteY2" fmla="*/ 356690 h 730787"/>
              <a:gd name="connsiteX3" fmla="*/ 730787 w 730787"/>
              <a:gd name="connsiteY3" fmla="*/ 374134 h 730787"/>
              <a:gd name="connsiteX4" fmla="*/ 696047 w 730787"/>
              <a:gd name="connsiteY4" fmla="*/ 520291 h 730787"/>
              <a:gd name="connsiteX5" fmla="*/ 689070 w 730787"/>
              <a:gd name="connsiteY5" fmla="*/ 523155 h 730787"/>
              <a:gd name="connsiteX6" fmla="*/ 681211 w 730787"/>
              <a:gd name="connsiteY6" fmla="*/ 520218 h 730787"/>
              <a:gd name="connsiteX7" fmla="*/ 677171 w 730787"/>
              <a:gd name="connsiteY7" fmla="*/ 511404 h 730787"/>
              <a:gd name="connsiteX8" fmla="*/ 683818 w 730787"/>
              <a:gd name="connsiteY8" fmla="*/ 493483 h 730787"/>
              <a:gd name="connsiteX9" fmla="*/ 682864 w 730787"/>
              <a:gd name="connsiteY9" fmla="*/ 492088 h 730787"/>
              <a:gd name="connsiteX10" fmla="*/ 561861 w 730787"/>
              <a:gd name="connsiteY10" fmla="*/ 492088 h 730787"/>
              <a:gd name="connsiteX11" fmla="*/ 559511 w 730787"/>
              <a:gd name="connsiteY11" fmla="*/ 493924 h 730787"/>
              <a:gd name="connsiteX12" fmla="*/ 554480 w 730787"/>
              <a:gd name="connsiteY12" fmla="*/ 516141 h 730787"/>
              <a:gd name="connsiteX13" fmla="*/ 552974 w 730787"/>
              <a:gd name="connsiteY13" fmla="*/ 519446 h 730787"/>
              <a:gd name="connsiteX14" fmla="*/ 549412 w 730787"/>
              <a:gd name="connsiteY14" fmla="*/ 521062 h 730787"/>
              <a:gd name="connsiteX15" fmla="*/ 546915 w 730787"/>
              <a:gd name="connsiteY15" fmla="*/ 523082 h 730787"/>
              <a:gd name="connsiteX16" fmla="*/ 544234 w 730787"/>
              <a:gd name="connsiteY16" fmla="*/ 530316 h 730787"/>
              <a:gd name="connsiteX17" fmla="*/ 545997 w 730787"/>
              <a:gd name="connsiteY17" fmla="*/ 532850 h 730787"/>
              <a:gd name="connsiteX18" fmla="*/ 680881 w 730787"/>
              <a:gd name="connsiteY18" fmla="*/ 532850 h 730787"/>
              <a:gd name="connsiteX19" fmla="*/ 683047 w 730787"/>
              <a:gd name="connsiteY19" fmla="*/ 533548 h 730787"/>
              <a:gd name="connsiteX20" fmla="*/ 695717 w 730787"/>
              <a:gd name="connsiteY20" fmla="*/ 542545 h 730787"/>
              <a:gd name="connsiteX21" fmla="*/ 696715 w 730787"/>
              <a:gd name="connsiteY21" fmla="*/ 548065 h 730787"/>
              <a:gd name="connsiteX22" fmla="*/ 696671 w 730787"/>
              <a:gd name="connsiteY22" fmla="*/ 548127 h 730787"/>
              <a:gd name="connsiteX23" fmla="*/ 668027 w 730787"/>
              <a:gd name="connsiteY23" fmla="*/ 588559 h 730787"/>
              <a:gd name="connsiteX24" fmla="*/ 668600 w 730787"/>
              <a:gd name="connsiteY24" fmla="*/ 591963 h 730787"/>
              <a:gd name="connsiteX25" fmla="*/ 668615 w 730787"/>
              <a:gd name="connsiteY25" fmla="*/ 591974 h 730787"/>
              <a:gd name="connsiteX26" fmla="*/ 724471 w 730787"/>
              <a:gd name="connsiteY26" fmla="*/ 631598 h 730787"/>
              <a:gd name="connsiteX27" fmla="*/ 725943 w 730787"/>
              <a:gd name="connsiteY27" fmla="*/ 640041 h 730787"/>
              <a:gd name="connsiteX28" fmla="*/ 725940 w 730787"/>
              <a:gd name="connsiteY28" fmla="*/ 640045 h 730787"/>
              <a:gd name="connsiteX29" fmla="*/ 684333 w 730787"/>
              <a:gd name="connsiteY29" fmla="*/ 698691 h 730787"/>
              <a:gd name="connsiteX30" fmla="*/ 676757 w 730787"/>
              <a:gd name="connsiteY30" fmla="*/ 699995 h 730787"/>
              <a:gd name="connsiteX31" fmla="*/ 676731 w 730787"/>
              <a:gd name="connsiteY31" fmla="*/ 699976 h 730787"/>
              <a:gd name="connsiteX32" fmla="*/ 619627 w 730787"/>
              <a:gd name="connsiteY32" fmla="*/ 659508 h 730787"/>
              <a:gd name="connsiteX33" fmla="*/ 617276 w 730787"/>
              <a:gd name="connsiteY33" fmla="*/ 659912 h 730787"/>
              <a:gd name="connsiteX34" fmla="*/ 591093 w 730787"/>
              <a:gd name="connsiteY34" fmla="*/ 696855 h 730787"/>
              <a:gd name="connsiteX35" fmla="*/ 588632 w 730787"/>
              <a:gd name="connsiteY35" fmla="*/ 697553 h 730787"/>
              <a:gd name="connsiteX36" fmla="*/ 582940 w 730787"/>
              <a:gd name="connsiteY36" fmla="*/ 698324 h 730787"/>
              <a:gd name="connsiteX37" fmla="*/ 579819 w 730787"/>
              <a:gd name="connsiteY37" fmla="*/ 699095 h 730787"/>
              <a:gd name="connsiteX38" fmla="*/ 570895 w 730787"/>
              <a:gd name="connsiteY38" fmla="*/ 691347 h 730787"/>
              <a:gd name="connsiteX39" fmla="*/ 529839 w 730787"/>
              <a:gd name="connsiteY39" fmla="*/ 573870 h 730787"/>
              <a:gd name="connsiteX40" fmla="*/ 527893 w 730787"/>
              <a:gd name="connsiteY40" fmla="*/ 573870 h 730787"/>
              <a:gd name="connsiteX41" fmla="*/ 517059 w 730787"/>
              <a:gd name="connsiteY41" fmla="*/ 602954 h 730787"/>
              <a:gd name="connsiteX42" fmla="*/ 517647 w 730787"/>
              <a:gd name="connsiteY42" fmla="*/ 605892 h 730787"/>
              <a:gd name="connsiteX43" fmla="*/ 518088 w 730787"/>
              <a:gd name="connsiteY43" fmla="*/ 612723 h 730787"/>
              <a:gd name="connsiteX44" fmla="*/ 453015 w 730787"/>
              <a:gd name="connsiteY44" fmla="*/ 696855 h 730787"/>
              <a:gd name="connsiteX45" fmla="*/ 453345 w 730787"/>
              <a:gd name="connsiteY45" fmla="*/ 697516 h 730787"/>
              <a:gd name="connsiteX46" fmla="*/ 527158 w 730787"/>
              <a:gd name="connsiteY46" fmla="*/ 668652 h 730787"/>
              <a:gd name="connsiteX47" fmla="*/ 536743 w 730787"/>
              <a:gd name="connsiteY47" fmla="*/ 671443 h 730787"/>
              <a:gd name="connsiteX48" fmla="*/ 540782 w 730787"/>
              <a:gd name="connsiteY48" fmla="*/ 678457 h 730787"/>
              <a:gd name="connsiteX49" fmla="*/ 538175 w 730787"/>
              <a:gd name="connsiteY49" fmla="*/ 687307 h 730787"/>
              <a:gd name="connsiteX50" fmla="*/ 451509 w 730787"/>
              <a:gd name="connsiteY50" fmla="*/ 720321 h 730787"/>
              <a:gd name="connsiteX51" fmla="*/ 388419 w 730787"/>
              <a:gd name="connsiteY51" fmla="*/ 730787 h 730787"/>
              <a:gd name="connsiteX52" fmla="*/ 346702 w 730787"/>
              <a:gd name="connsiteY52" fmla="*/ 730787 h 730787"/>
              <a:gd name="connsiteX53" fmla="*/ 83985 w 730787"/>
              <a:gd name="connsiteY53" fmla="*/ 598144 h 730787"/>
              <a:gd name="connsiteX54" fmla="*/ 0 w 730787"/>
              <a:gd name="connsiteY54" fmla="*/ 374905 h 730787"/>
              <a:gd name="connsiteX55" fmla="*/ 0 w 730787"/>
              <a:gd name="connsiteY55" fmla="*/ 356727 h 730787"/>
              <a:gd name="connsiteX56" fmla="*/ 61695 w 730787"/>
              <a:gd name="connsiteY56" fmla="*/ 162719 h 730787"/>
              <a:gd name="connsiteX57" fmla="*/ 292866 w 730787"/>
              <a:gd name="connsiteY57" fmla="*/ 7271 h 730787"/>
              <a:gd name="connsiteX58" fmla="*/ 346151 w 730787"/>
              <a:gd name="connsiteY58" fmla="*/ 0 h 730787"/>
              <a:gd name="connsiteX59" fmla="*/ 384453 w 730787"/>
              <a:gd name="connsiteY59" fmla="*/ 0 h 730787"/>
              <a:gd name="connsiteX60" fmla="*/ 367266 w 730787"/>
              <a:gd name="connsiteY60" fmla="*/ 23796 h 730787"/>
              <a:gd name="connsiteX61" fmla="*/ 365540 w 730787"/>
              <a:gd name="connsiteY61" fmla="*/ 22071 h 730787"/>
              <a:gd name="connsiteX62" fmla="*/ 365394 w 730787"/>
              <a:gd name="connsiteY62" fmla="*/ 22071 h 730787"/>
              <a:gd name="connsiteX63" fmla="*/ 363668 w 730787"/>
              <a:gd name="connsiteY63" fmla="*/ 23796 h 730787"/>
              <a:gd name="connsiteX64" fmla="*/ 363668 w 730787"/>
              <a:gd name="connsiteY64" fmla="*/ 232603 h 730787"/>
              <a:gd name="connsiteX65" fmla="*/ 365394 w 730787"/>
              <a:gd name="connsiteY65" fmla="*/ 234329 h 730787"/>
              <a:gd name="connsiteX66" fmla="*/ 365540 w 730787"/>
              <a:gd name="connsiteY66" fmla="*/ 234329 h 730787"/>
              <a:gd name="connsiteX67" fmla="*/ 367266 w 730787"/>
              <a:gd name="connsiteY67" fmla="*/ 232603 h 730787"/>
              <a:gd name="connsiteX68" fmla="*/ 367266 w 730787"/>
              <a:gd name="connsiteY68" fmla="*/ 23796 h 730787"/>
              <a:gd name="connsiteX69" fmla="*/ 351879 w 730787"/>
              <a:gd name="connsiteY69" fmla="*/ 22989 h 730787"/>
              <a:gd name="connsiteX70" fmla="*/ 194044 w 730787"/>
              <a:gd name="connsiteY70" fmla="*/ 233889 h 730787"/>
              <a:gd name="connsiteX71" fmla="*/ 194815 w 730787"/>
              <a:gd name="connsiteY71" fmla="*/ 234807 h 730787"/>
              <a:gd name="connsiteX72" fmla="*/ 348685 w 730787"/>
              <a:gd name="connsiteY72" fmla="*/ 235541 h 730787"/>
              <a:gd name="connsiteX73" fmla="*/ 351990 w 730787"/>
              <a:gd name="connsiteY73" fmla="*/ 232273 h 730787"/>
              <a:gd name="connsiteX74" fmla="*/ 352981 w 730787"/>
              <a:gd name="connsiteY74" fmla="*/ 23907 h 730787"/>
              <a:gd name="connsiteX75" fmla="*/ 352001 w 730787"/>
              <a:gd name="connsiteY75" fmla="*/ 22977 h 730787"/>
              <a:gd name="connsiteX76" fmla="*/ 351879 w 730787"/>
              <a:gd name="connsiteY76" fmla="*/ 22989 h 730787"/>
              <a:gd name="connsiteX77" fmla="*/ 378944 w 730787"/>
              <a:gd name="connsiteY77" fmla="*/ 22878 h 730787"/>
              <a:gd name="connsiteX78" fmla="*/ 377854 w 730787"/>
              <a:gd name="connsiteY78" fmla="*/ 23675 h 730787"/>
              <a:gd name="connsiteX79" fmla="*/ 377843 w 730787"/>
              <a:gd name="connsiteY79" fmla="*/ 23833 h 730787"/>
              <a:gd name="connsiteX80" fmla="*/ 378797 w 730787"/>
              <a:gd name="connsiteY80" fmla="*/ 232089 h 730787"/>
              <a:gd name="connsiteX81" fmla="*/ 382102 w 730787"/>
              <a:gd name="connsiteY81" fmla="*/ 235394 h 730787"/>
              <a:gd name="connsiteX82" fmla="*/ 535935 w 730787"/>
              <a:gd name="connsiteY82" fmla="*/ 234660 h 730787"/>
              <a:gd name="connsiteX83" fmla="*/ 536706 w 730787"/>
              <a:gd name="connsiteY83" fmla="*/ 233742 h 730787"/>
              <a:gd name="connsiteX84" fmla="*/ 378944 w 730787"/>
              <a:gd name="connsiteY84" fmla="*/ 22878 h 730787"/>
              <a:gd name="connsiteX85" fmla="*/ 464729 w 730787"/>
              <a:gd name="connsiteY85" fmla="*/ 44802 h 730787"/>
              <a:gd name="connsiteX86" fmla="*/ 486249 w 730787"/>
              <a:gd name="connsiteY86" fmla="*/ 69223 h 730787"/>
              <a:gd name="connsiteX87" fmla="*/ 558373 w 730787"/>
              <a:gd name="connsiteY87" fmla="*/ 232934 h 730787"/>
              <a:gd name="connsiteX88" fmla="*/ 561641 w 730787"/>
              <a:gd name="connsiteY88" fmla="*/ 235578 h 730787"/>
              <a:gd name="connsiteX89" fmla="*/ 682570 w 730787"/>
              <a:gd name="connsiteY89" fmla="*/ 234696 h 730787"/>
              <a:gd name="connsiteX90" fmla="*/ 683407 w 730787"/>
              <a:gd name="connsiteY90" fmla="*/ 233846 h 730787"/>
              <a:gd name="connsiteX91" fmla="*/ 683341 w 730787"/>
              <a:gd name="connsiteY91" fmla="*/ 233521 h 730787"/>
              <a:gd name="connsiteX92" fmla="*/ 525910 w 730787"/>
              <a:gd name="connsiteY92" fmla="*/ 61364 h 730787"/>
              <a:gd name="connsiteX93" fmla="*/ 453933 w 730787"/>
              <a:gd name="connsiteY93" fmla="*/ 32537 h 730787"/>
              <a:gd name="connsiteX94" fmla="*/ 452794 w 730787"/>
              <a:gd name="connsiteY94" fmla="*/ 34483 h 730787"/>
              <a:gd name="connsiteX95" fmla="*/ 464729 w 730787"/>
              <a:gd name="connsiteY95" fmla="*/ 44802 h 730787"/>
              <a:gd name="connsiteX96" fmla="*/ 237230 w 730787"/>
              <a:gd name="connsiteY96" fmla="*/ 34813 h 730787"/>
              <a:gd name="connsiteX97" fmla="*/ 237524 w 730787"/>
              <a:gd name="connsiteY97" fmla="*/ 35511 h 730787"/>
              <a:gd name="connsiteX98" fmla="*/ 238663 w 730787"/>
              <a:gd name="connsiteY98" fmla="*/ 35364 h 730787"/>
              <a:gd name="connsiteX99" fmla="*/ 238479 w 730787"/>
              <a:gd name="connsiteY99" fmla="*/ 34226 h 730787"/>
              <a:gd name="connsiteX100" fmla="*/ 237230 w 730787"/>
              <a:gd name="connsiteY100" fmla="*/ 34813 h 730787"/>
              <a:gd name="connsiteX101" fmla="*/ 264809 w 730787"/>
              <a:gd name="connsiteY101" fmla="*/ 45683 h 730787"/>
              <a:gd name="connsiteX102" fmla="*/ 276634 w 730787"/>
              <a:gd name="connsiteY102" fmla="*/ 35438 h 730787"/>
              <a:gd name="connsiteX103" fmla="*/ 275496 w 730787"/>
              <a:gd name="connsiteY103" fmla="*/ 33491 h 730787"/>
              <a:gd name="connsiteX104" fmla="*/ 204143 w 730787"/>
              <a:gd name="connsiteY104" fmla="*/ 62282 h 730787"/>
              <a:gd name="connsiteX105" fmla="*/ 48291 w 730787"/>
              <a:gd name="connsiteY105" fmla="*/ 233558 h 730787"/>
              <a:gd name="connsiteX106" fmla="*/ 48738 w 730787"/>
              <a:gd name="connsiteY106" fmla="*/ 234627 h 730787"/>
              <a:gd name="connsiteX107" fmla="*/ 49062 w 730787"/>
              <a:gd name="connsiteY107" fmla="*/ 234696 h 730787"/>
              <a:gd name="connsiteX108" fmla="*/ 169109 w 730787"/>
              <a:gd name="connsiteY108" fmla="*/ 235284 h 730787"/>
              <a:gd name="connsiteX109" fmla="*/ 172341 w 730787"/>
              <a:gd name="connsiteY109" fmla="*/ 232640 h 730787"/>
              <a:gd name="connsiteX110" fmla="*/ 243510 w 730787"/>
              <a:gd name="connsiteY110" fmla="*/ 69957 h 730787"/>
              <a:gd name="connsiteX111" fmla="*/ 264809 w 730787"/>
              <a:gd name="connsiteY111" fmla="*/ 45683 h 730787"/>
              <a:gd name="connsiteX112" fmla="*/ 503288 w 730787"/>
              <a:gd name="connsiteY112" fmla="*/ 38192 h 730787"/>
              <a:gd name="connsiteX113" fmla="*/ 501929 w 730787"/>
              <a:gd name="connsiteY113" fmla="*/ 37678 h 730787"/>
              <a:gd name="connsiteX114" fmla="*/ 501893 w 730787"/>
              <a:gd name="connsiteY114" fmla="*/ 38412 h 730787"/>
              <a:gd name="connsiteX115" fmla="*/ 503802 w 730787"/>
              <a:gd name="connsiteY115" fmla="*/ 38779 h 730787"/>
              <a:gd name="connsiteX116" fmla="*/ 503288 w 730787"/>
              <a:gd name="connsiteY116" fmla="*/ 38192 h 730787"/>
              <a:gd name="connsiteX117" fmla="*/ 167771 w 730787"/>
              <a:gd name="connsiteY117" fmla="*/ 71006 h 730787"/>
              <a:gd name="connsiteX118" fmla="*/ 166446 w 730787"/>
              <a:gd name="connsiteY118" fmla="*/ 71662 h 730787"/>
              <a:gd name="connsiteX119" fmla="*/ 166446 w 730787"/>
              <a:gd name="connsiteY119" fmla="*/ 71662 h 730787"/>
              <a:gd name="connsiteX120" fmla="*/ 165600 w 730787"/>
              <a:gd name="connsiteY120" fmla="*/ 72874 h 730787"/>
              <a:gd name="connsiteX121" fmla="*/ 166925 w 730787"/>
              <a:gd name="connsiteY121" fmla="*/ 72219 h 730787"/>
              <a:gd name="connsiteX122" fmla="*/ 166925 w 730787"/>
              <a:gd name="connsiteY122" fmla="*/ 72219 h 730787"/>
              <a:gd name="connsiteX123" fmla="*/ 167771 w 730787"/>
              <a:gd name="connsiteY123" fmla="*/ 71006 h 730787"/>
              <a:gd name="connsiteX124" fmla="*/ 153575 w 730787"/>
              <a:gd name="connsiteY124" fmla="*/ 80974 h 730787"/>
              <a:gd name="connsiteX125" fmla="*/ 152290 w 730787"/>
              <a:gd name="connsiteY125" fmla="*/ 82002 h 730787"/>
              <a:gd name="connsiteX126" fmla="*/ 153061 w 730787"/>
              <a:gd name="connsiteY126" fmla="*/ 82443 h 730787"/>
              <a:gd name="connsiteX127" fmla="*/ 155558 w 730787"/>
              <a:gd name="connsiteY127" fmla="*/ 79615 h 730787"/>
              <a:gd name="connsiteX128" fmla="*/ 155485 w 730787"/>
              <a:gd name="connsiteY128" fmla="*/ 79542 h 730787"/>
              <a:gd name="connsiteX129" fmla="*/ 153575 w 730787"/>
              <a:gd name="connsiteY129" fmla="*/ 80974 h 730787"/>
              <a:gd name="connsiteX130" fmla="*/ 141856 w 730787"/>
              <a:gd name="connsiteY130" fmla="*/ 89535 h 730787"/>
              <a:gd name="connsiteX131" fmla="*/ 132954 w 730787"/>
              <a:gd name="connsiteY131" fmla="*/ 98021 h 730787"/>
              <a:gd name="connsiteX132" fmla="*/ 132950 w 730787"/>
              <a:gd name="connsiteY132" fmla="*/ 98026 h 730787"/>
              <a:gd name="connsiteX133" fmla="*/ 124459 w 730787"/>
              <a:gd name="connsiteY133" fmla="*/ 106933 h 730787"/>
              <a:gd name="connsiteX134" fmla="*/ 124459 w 730787"/>
              <a:gd name="connsiteY134" fmla="*/ 106933 h 730787"/>
              <a:gd name="connsiteX135" fmla="*/ 133361 w 730787"/>
              <a:gd name="connsiteY135" fmla="*/ 98447 h 730787"/>
              <a:gd name="connsiteX136" fmla="*/ 133365 w 730787"/>
              <a:gd name="connsiteY136" fmla="*/ 98442 h 730787"/>
              <a:gd name="connsiteX137" fmla="*/ 141856 w 730787"/>
              <a:gd name="connsiteY137" fmla="*/ 89535 h 730787"/>
              <a:gd name="connsiteX138" fmla="*/ 141856 w 730787"/>
              <a:gd name="connsiteY138" fmla="*/ 89535 h 730787"/>
              <a:gd name="connsiteX139" fmla="*/ 89628 w 730787"/>
              <a:gd name="connsiteY139" fmla="*/ 141829 h 730787"/>
              <a:gd name="connsiteX140" fmla="*/ 97999 w 730787"/>
              <a:gd name="connsiteY140" fmla="*/ 133845 h 730787"/>
              <a:gd name="connsiteX141" fmla="*/ 98001 w 730787"/>
              <a:gd name="connsiteY141" fmla="*/ 133842 h 730787"/>
              <a:gd name="connsiteX142" fmla="*/ 105959 w 730787"/>
              <a:gd name="connsiteY142" fmla="*/ 125441 h 730787"/>
              <a:gd name="connsiteX143" fmla="*/ 105959 w 730787"/>
              <a:gd name="connsiteY143" fmla="*/ 125441 h 730787"/>
              <a:gd name="connsiteX144" fmla="*/ 97588 w 730787"/>
              <a:gd name="connsiteY144" fmla="*/ 133424 h 730787"/>
              <a:gd name="connsiteX145" fmla="*/ 97585 w 730787"/>
              <a:gd name="connsiteY145" fmla="*/ 133427 h 730787"/>
              <a:gd name="connsiteX146" fmla="*/ 89628 w 730787"/>
              <a:gd name="connsiteY146" fmla="*/ 141829 h 730787"/>
              <a:gd name="connsiteX147" fmla="*/ 89628 w 730787"/>
              <a:gd name="connsiteY147" fmla="*/ 141829 h 730787"/>
              <a:gd name="connsiteX148" fmla="*/ 158019 w 730787"/>
              <a:gd name="connsiteY148" fmla="*/ 365394 h 730787"/>
              <a:gd name="connsiteX149" fmla="*/ 167163 w 730787"/>
              <a:gd name="connsiteY149" fmla="*/ 257905 h 730787"/>
              <a:gd name="connsiteX150" fmla="*/ 166621 w 730787"/>
              <a:gd name="connsiteY150" fmla="*/ 257143 h 730787"/>
              <a:gd name="connsiteX151" fmla="*/ 166502 w 730787"/>
              <a:gd name="connsiteY151" fmla="*/ 257134 h 730787"/>
              <a:gd name="connsiteX152" fmla="*/ 40836 w 730787"/>
              <a:gd name="connsiteY152" fmla="*/ 257097 h 730787"/>
              <a:gd name="connsiteX153" fmla="*/ 38375 w 730787"/>
              <a:gd name="connsiteY153" fmla="*/ 258934 h 730787"/>
              <a:gd name="connsiteX154" fmla="*/ 21520 w 730787"/>
              <a:gd name="connsiteY154" fmla="*/ 365320 h 730787"/>
              <a:gd name="connsiteX155" fmla="*/ 38302 w 730787"/>
              <a:gd name="connsiteY155" fmla="*/ 471743 h 730787"/>
              <a:gd name="connsiteX156" fmla="*/ 40726 w 730787"/>
              <a:gd name="connsiteY156" fmla="*/ 473579 h 730787"/>
              <a:gd name="connsiteX157" fmla="*/ 166428 w 730787"/>
              <a:gd name="connsiteY157" fmla="*/ 473616 h 730787"/>
              <a:gd name="connsiteX158" fmla="*/ 167056 w 730787"/>
              <a:gd name="connsiteY158" fmla="*/ 472922 h 730787"/>
              <a:gd name="connsiteX159" fmla="*/ 167053 w 730787"/>
              <a:gd name="connsiteY159" fmla="*/ 472882 h 730787"/>
              <a:gd name="connsiteX160" fmla="*/ 158019 w 730787"/>
              <a:gd name="connsiteY160" fmla="*/ 365394 h 730787"/>
              <a:gd name="connsiteX161" fmla="*/ 179465 w 730787"/>
              <a:gd name="connsiteY161" fmla="*/ 365357 h 730787"/>
              <a:gd name="connsiteX162" fmla="*/ 188903 w 730787"/>
              <a:gd name="connsiteY162" fmla="*/ 471743 h 730787"/>
              <a:gd name="connsiteX163" fmla="*/ 191216 w 730787"/>
              <a:gd name="connsiteY163" fmla="*/ 473690 h 730787"/>
              <a:gd name="connsiteX164" fmla="*/ 349786 w 730787"/>
              <a:gd name="connsiteY164" fmla="*/ 473690 h 730787"/>
              <a:gd name="connsiteX165" fmla="*/ 352614 w 730787"/>
              <a:gd name="connsiteY165" fmla="*/ 470862 h 730787"/>
              <a:gd name="connsiteX166" fmla="*/ 352504 w 730787"/>
              <a:gd name="connsiteY166" fmla="*/ 365394 h 730787"/>
              <a:gd name="connsiteX167" fmla="*/ 352614 w 730787"/>
              <a:gd name="connsiteY167" fmla="*/ 259925 h 730787"/>
              <a:gd name="connsiteX168" fmla="*/ 349823 w 730787"/>
              <a:gd name="connsiteY168" fmla="*/ 257097 h 730787"/>
              <a:gd name="connsiteX169" fmla="*/ 191253 w 730787"/>
              <a:gd name="connsiteY169" fmla="*/ 257061 h 730787"/>
              <a:gd name="connsiteX170" fmla="*/ 188903 w 730787"/>
              <a:gd name="connsiteY170" fmla="*/ 259007 h 730787"/>
              <a:gd name="connsiteX171" fmla="*/ 179465 w 730787"/>
              <a:gd name="connsiteY171" fmla="*/ 365357 h 730787"/>
              <a:gd name="connsiteX172" fmla="*/ 367340 w 730787"/>
              <a:gd name="connsiteY172" fmla="*/ 259558 h 730787"/>
              <a:gd name="connsiteX173" fmla="*/ 365504 w 730787"/>
              <a:gd name="connsiteY173" fmla="*/ 257722 h 730787"/>
              <a:gd name="connsiteX174" fmla="*/ 365357 w 730787"/>
              <a:gd name="connsiteY174" fmla="*/ 257722 h 730787"/>
              <a:gd name="connsiteX175" fmla="*/ 363521 w 730787"/>
              <a:gd name="connsiteY175" fmla="*/ 259558 h 730787"/>
              <a:gd name="connsiteX176" fmla="*/ 363521 w 730787"/>
              <a:gd name="connsiteY176" fmla="*/ 471229 h 730787"/>
              <a:gd name="connsiteX177" fmla="*/ 365357 w 730787"/>
              <a:gd name="connsiteY177" fmla="*/ 473065 h 730787"/>
              <a:gd name="connsiteX178" fmla="*/ 365504 w 730787"/>
              <a:gd name="connsiteY178" fmla="*/ 473065 h 730787"/>
              <a:gd name="connsiteX179" fmla="*/ 367340 w 730787"/>
              <a:gd name="connsiteY179" fmla="*/ 471229 h 730787"/>
              <a:gd name="connsiteX180" fmla="*/ 367340 w 730787"/>
              <a:gd name="connsiteY180" fmla="*/ 259558 h 730787"/>
              <a:gd name="connsiteX181" fmla="*/ 551359 w 730787"/>
              <a:gd name="connsiteY181" fmla="*/ 365357 h 730787"/>
              <a:gd name="connsiteX182" fmla="*/ 541921 w 730787"/>
              <a:gd name="connsiteY182" fmla="*/ 258897 h 730787"/>
              <a:gd name="connsiteX183" fmla="*/ 539607 w 730787"/>
              <a:gd name="connsiteY183" fmla="*/ 256987 h 730787"/>
              <a:gd name="connsiteX184" fmla="*/ 380927 w 730787"/>
              <a:gd name="connsiteY184" fmla="*/ 256987 h 730787"/>
              <a:gd name="connsiteX185" fmla="*/ 378100 w 730787"/>
              <a:gd name="connsiteY185" fmla="*/ 259815 h 730787"/>
              <a:gd name="connsiteX186" fmla="*/ 378210 w 730787"/>
              <a:gd name="connsiteY186" fmla="*/ 365357 h 730787"/>
              <a:gd name="connsiteX187" fmla="*/ 378100 w 730787"/>
              <a:gd name="connsiteY187" fmla="*/ 470899 h 730787"/>
              <a:gd name="connsiteX188" fmla="*/ 380891 w 730787"/>
              <a:gd name="connsiteY188" fmla="*/ 473763 h 730787"/>
              <a:gd name="connsiteX189" fmla="*/ 380927 w 730787"/>
              <a:gd name="connsiteY189" fmla="*/ 473763 h 730787"/>
              <a:gd name="connsiteX190" fmla="*/ 539607 w 730787"/>
              <a:gd name="connsiteY190" fmla="*/ 473763 h 730787"/>
              <a:gd name="connsiteX191" fmla="*/ 541921 w 730787"/>
              <a:gd name="connsiteY191" fmla="*/ 471817 h 730787"/>
              <a:gd name="connsiteX192" fmla="*/ 551359 w 730787"/>
              <a:gd name="connsiteY192" fmla="*/ 365357 h 730787"/>
              <a:gd name="connsiteX193" fmla="*/ 572915 w 730787"/>
              <a:gd name="connsiteY193" fmla="*/ 365394 h 730787"/>
              <a:gd name="connsiteX194" fmla="*/ 563808 w 730787"/>
              <a:gd name="connsiteY194" fmla="*/ 473029 h 730787"/>
              <a:gd name="connsiteX195" fmla="*/ 564348 w 730787"/>
              <a:gd name="connsiteY195" fmla="*/ 473792 h 730787"/>
              <a:gd name="connsiteX196" fmla="*/ 564469 w 730787"/>
              <a:gd name="connsiteY196" fmla="*/ 473800 h 730787"/>
              <a:gd name="connsiteX197" fmla="*/ 690355 w 730787"/>
              <a:gd name="connsiteY197" fmla="*/ 473800 h 730787"/>
              <a:gd name="connsiteX198" fmla="*/ 692779 w 730787"/>
              <a:gd name="connsiteY198" fmla="*/ 471964 h 730787"/>
              <a:gd name="connsiteX199" fmla="*/ 709635 w 730787"/>
              <a:gd name="connsiteY199" fmla="*/ 365394 h 730787"/>
              <a:gd name="connsiteX200" fmla="*/ 692815 w 730787"/>
              <a:gd name="connsiteY200" fmla="*/ 258823 h 730787"/>
              <a:gd name="connsiteX201" fmla="*/ 690355 w 730787"/>
              <a:gd name="connsiteY201" fmla="*/ 256987 h 730787"/>
              <a:gd name="connsiteX202" fmla="*/ 564469 w 730787"/>
              <a:gd name="connsiteY202" fmla="*/ 256987 h 730787"/>
              <a:gd name="connsiteX203" fmla="*/ 563841 w 730787"/>
              <a:gd name="connsiteY203" fmla="*/ 257680 h 730787"/>
              <a:gd name="connsiteX204" fmla="*/ 563844 w 730787"/>
              <a:gd name="connsiteY204" fmla="*/ 257722 h 730787"/>
              <a:gd name="connsiteX205" fmla="*/ 572915 w 730787"/>
              <a:gd name="connsiteY205" fmla="*/ 365394 h 730787"/>
              <a:gd name="connsiteX206" fmla="*/ 264919 w 730787"/>
              <a:gd name="connsiteY206" fmla="*/ 685287 h 730787"/>
              <a:gd name="connsiteX207" fmla="*/ 243400 w 730787"/>
              <a:gd name="connsiteY207" fmla="*/ 660499 h 730787"/>
              <a:gd name="connsiteX208" fmla="*/ 171863 w 730787"/>
              <a:gd name="connsiteY208" fmla="*/ 494879 h 730787"/>
              <a:gd name="connsiteX209" fmla="*/ 168595 w 730787"/>
              <a:gd name="connsiteY209" fmla="*/ 492198 h 730787"/>
              <a:gd name="connsiteX210" fmla="*/ 46638 w 730787"/>
              <a:gd name="connsiteY210" fmla="*/ 492198 h 730787"/>
              <a:gd name="connsiteX211" fmla="*/ 45800 w 730787"/>
              <a:gd name="connsiteY211" fmla="*/ 493050 h 730787"/>
              <a:gd name="connsiteX212" fmla="*/ 45867 w 730787"/>
              <a:gd name="connsiteY212" fmla="*/ 493373 h 730787"/>
              <a:gd name="connsiteX213" fmla="*/ 203335 w 730787"/>
              <a:gd name="connsiteY213" fmla="*/ 668138 h 730787"/>
              <a:gd name="connsiteX214" fmla="*/ 275716 w 730787"/>
              <a:gd name="connsiteY214" fmla="*/ 697736 h 730787"/>
              <a:gd name="connsiteX215" fmla="*/ 276854 w 730787"/>
              <a:gd name="connsiteY215" fmla="*/ 695753 h 730787"/>
              <a:gd name="connsiteX216" fmla="*/ 264919 w 730787"/>
              <a:gd name="connsiteY216" fmla="*/ 685287 h 730787"/>
              <a:gd name="connsiteX217" fmla="*/ 351512 w 730787"/>
              <a:gd name="connsiteY217" fmla="*/ 707395 h 730787"/>
              <a:gd name="connsiteX218" fmla="*/ 352640 w 730787"/>
              <a:gd name="connsiteY218" fmla="*/ 706598 h 730787"/>
              <a:gd name="connsiteX219" fmla="*/ 352651 w 730787"/>
              <a:gd name="connsiteY219" fmla="*/ 706440 h 730787"/>
              <a:gd name="connsiteX220" fmla="*/ 352651 w 730787"/>
              <a:gd name="connsiteY220" fmla="*/ 495466 h 730787"/>
              <a:gd name="connsiteX221" fmla="*/ 349309 w 730787"/>
              <a:gd name="connsiteY221" fmla="*/ 492124 h 730787"/>
              <a:gd name="connsiteX222" fmla="*/ 193493 w 730787"/>
              <a:gd name="connsiteY222" fmla="*/ 492124 h 730787"/>
              <a:gd name="connsiteX223" fmla="*/ 192722 w 730787"/>
              <a:gd name="connsiteY223" fmla="*/ 493079 h 730787"/>
              <a:gd name="connsiteX224" fmla="*/ 351512 w 730787"/>
              <a:gd name="connsiteY224" fmla="*/ 707395 h 730787"/>
              <a:gd name="connsiteX225" fmla="*/ 367303 w 730787"/>
              <a:gd name="connsiteY225" fmla="*/ 494622 h 730787"/>
              <a:gd name="connsiteX226" fmla="*/ 365504 w 730787"/>
              <a:gd name="connsiteY226" fmla="*/ 492822 h 730787"/>
              <a:gd name="connsiteX227" fmla="*/ 365357 w 730787"/>
              <a:gd name="connsiteY227" fmla="*/ 492822 h 730787"/>
              <a:gd name="connsiteX228" fmla="*/ 363557 w 730787"/>
              <a:gd name="connsiteY228" fmla="*/ 494622 h 730787"/>
              <a:gd name="connsiteX229" fmla="*/ 363557 w 730787"/>
              <a:gd name="connsiteY229" fmla="*/ 707027 h 730787"/>
              <a:gd name="connsiteX230" fmla="*/ 365357 w 730787"/>
              <a:gd name="connsiteY230" fmla="*/ 708827 h 730787"/>
              <a:gd name="connsiteX231" fmla="*/ 365504 w 730787"/>
              <a:gd name="connsiteY231" fmla="*/ 708827 h 730787"/>
              <a:gd name="connsiteX232" fmla="*/ 367303 w 730787"/>
              <a:gd name="connsiteY232" fmla="*/ 707027 h 730787"/>
              <a:gd name="connsiteX233" fmla="*/ 367303 w 730787"/>
              <a:gd name="connsiteY233" fmla="*/ 494622 h 730787"/>
              <a:gd name="connsiteX234" fmla="*/ 518088 w 730787"/>
              <a:gd name="connsiteY234" fmla="*/ 537661 h 730787"/>
              <a:gd name="connsiteX235" fmla="*/ 520967 w 730787"/>
              <a:gd name="connsiteY235" fmla="*/ 532725 h 730787"/>
              <a:gd name="connsiteX236" fmla="*/ 521980 w 730787"/>
              <a:gd name="connsiteY236" fmla="*/ 532593 h 730787"/>
              <a:gd name="connsiteX237" fmla="*/ 529729 w 730787"/>
              <a:gd name="connsiteY237" fmla="*/ 532593 h 730787"/>
              <a:gd name="connsiteX238" fmla="*/ 532446 w 730787"/>
              <a:gd name="connsiteY238" fmla="*/ 530684 h 730787"/>
              <a:gd name="connsiteX239" fmla="*/ 536449 w 730787"/>
              <a:gd name="connsiteY239" fmla="*/ 519960 h 730787"/>
              <a:gd name="connsiteX240" fmla="*/ 536008 w 730787"/>
              <a:gd name="connsiteY240" fmla="*/ 517684 h 730787"/>
              <a:gd name="connsiteX241" fmla="*/ 534833 w 730787"/>
              <a:gd name="connsiteY241" fmla="*/ 516655 h 730787"/>
              <a:gd name="connsiteX242" fmla="*/ 533401 w 730787"/>
              <a:gd name="connsiteY242" fmla="*/ 513093 h 730787"/>
              <a:gd name="connsiteX243" fmla="*/ 537845 w 730787"/>
              <a:gd name="connsiteY243" fmla="*/ 493997 h 730787"/>
              <a:gd name="connsiteX244" fmla="*/ 536640 w 730787"/>
              <a:gd name="connsiteY244" fmla="*/ 492058 h 730787"/>
              <a:gd name="connsiteX245" fmla="*/ 536265 w 730787"/>
              <a:gd name="connsiteY245" fmla="*/ 492014 h 730787"/>
              <a:gd name="connsiteX246" fmla="*/ 379128 w 730787"/>
              <a:gd name="connsiteY246" fmla="*/ 492014 h 730787"/>
              <a:gd name="connsiteX247" fmla="*/ 378210 w 730787"/>
              <a:gd name="connsiteY247" fmla="*/ 492932 h 730787"/>
              <a:gd name="connsiteX248" fmla="*/ 378210 w 730787"/>
              <a:gd name="connsiteY248" fmla="*/ 705265 h 730787"/>
              <a:gd name="connsiteX249" fmla="*/ 380670 w 730787"/>
              <a:gd name="connsiteY249" fmla="*/ 707431 h 730787"/>
              <a:gd name="connsiteX250" fmla="*/ 498735 w 730787"/>
              <a:gd name="connsiteY250" fmla="*/ 604460 h 730787"/>
              <a:gd name="connsiteX251" fmla="*/ 505014 w 730787"/>
              <a:gd name="connsiteY251" fmla="*/ 599576 h 730787"/>
              <a:gd name="connsiteX252" fmla="*/ 507401 w 730787"/>
              <a:gd name="connsiteY252" fmla="*/ 597336 h 730787"/>
              <a:gd name="connsiteX253" fmla="*/ 522127 w 730787"/>
              <a:gd name="connsiteY253" fmla="*/ 557675 h 730787"/>
              <a:gd name="connsiteX254" fmla="*/ 522347 w 730787"/>
              <a:gd name="connsiteY254" fmla="*/ 553819 h 730787"/>
              <a:gd name="connsiteX255" fmla="*/ 518088 w 730787"/>
              <a:gd name="connsiteY255" fmla="*/ 537661 h 730787"/>
              <a:gd name="connsiteX256" fmla="*/ 688078 w 730787"/>
              <a:gd name="connsiteY256" fmla="*/ 656533 h 730787"/>
              <a:gd name="connsiteX257" fmla="*/ 698728 w 730787"/>
              <a:gd name="connsiteY257" fmla="*/ 641697 h 730787"/>
              <a:gd name="connsiteX258" fmla="*/ 698581 w 730787"/>
              <a:gd name="connsiteY258" fmla="*/ 638686 h 730787"/>
              <a:gd name="connsiteX259" fmla="*/ 643680 w 730787"/>
              <a:gd name="connsiteY259" fmla="*/ 599209 h 730787"/>
              <a:gd name="connsiteX260" fmla="*/ 641778 w 730787"/>
              <a:gd name="connsiteY260" fmla="*/ 588599 h 730787"/>
              <a:gd name="connsiteX261" fmla="*/ 641807 w 730787"/>
              <a:gd name="connsiteY261" fmla="*/ 588559 h 730787"/>
              <a:gd name="connsiteX262" fmla="*/ 664686 w 730787"/>
              <a:gd name="connsiteY262" fmla="*/ 557161 h 730787"/>
              <a:gd name="connsiteX263" fmla="*/ 663584 w 730787"/>
              <a:gd name="connsiteY263" fmla="*/ 554994 h 730787"/>
              <a:gd name="connsiteX264" fmla="*/ 546328 w 730787"/>
              <a:gd name="connsiteY264" fmla="*/ 553378 h 730787"/>
              <a:gd name="connsiteX265" fmla="*/ 545740 w 730787"/>
              <a:gd name="connsiteY265" fmla="*/ 553672 h 730787"/>
              <a:gd name="connsiteX266" fmla="*/ 545630 w 730787"/>
              <a:gd name="connsiteY266" fmla="*/ 554296 h 730787"/>
              <a:gd name="connsiteX267" fmla="*/ 584005 w 730787"/>
              <a:gd name="connsiteY267" fmla="*/ 665126 h 730787"/>
              <a:gd name="connsiteX268" fmla="*/ 586392 w 730787"/>
              <a:gd name="connsiteY268" fmla="*/ 665494 h 730787"/>
              <a:gd name="connsiteX269" fmla="*/ 609014 w 730787"/>
              <a:gd name="connsiteY269" fmla="*/ 633912 h 730787"/>
              <a:gd name="connsiteX270" fmla="*/ 619671 w 730787"/>
              <a:gd name="connsiteY270" fmla="*/ 632322 h 730787"/>
              <a:gd name="connsiteX271" fmla="*/ 619737 w 730787"/>
              <a:gd name="connsiteY271" fmla="*/ 632369 h 730787"/>
              <a:gd name="connsiteX272" fmla="*/ 674454 w 730787"/>
              <a:gd name="connsiteY272" fmla="*/ 672104 h 730787"/>
              <a:gd name="connsiteX273" fmla="*/ 677355 w 730787"/>
              <a:gd name="connsiteY273" fmla="*/ 671259 h 730787"/>
              <a:gd name="connsiteX274" fmla="*/ 688078 w 730787"/>
              <a:gd name="connsiteY274" fmla="*/ 656533 h 730787"/>
              <a:gd name="connsiteX275" fmla="*/ 227205 w 730787"/>
              <a:gd name="connsiteY275" fmla="*/ 692191 h 730787"/>
              <a:gd name="connsiteX276" fmla="*/ 228343 w 730787"/>
              <a:gd name="connsiteY276" fmla="*/ 692191 h 730787"/>
              <a:gd name="connsiteX277" fmla="*/ 227278 w 730787"/>
              <a:gd name="connsiteY277" fmla="*/ 691751 h 730787"/>
              <a:gd name="connsiteX278" fmla="*/ 227090 w 730787"/>
              <a:gd name="connsiteY278" fmla="*/ 692004 h 730787"/>
              <a:gd name="connsiteX279" fmla="*/ 227205 w 730787"/>
              <a:gd name="connsiteY279" fmla="*/ 692191 h 730787"/>
              <a:gd name="connsiteX280" fmla="*/ 238589 w 730787"/>
              <a:gd name="connsiteY280" fmla="*/ 695790 h 730787"/>
              <a:gd name="connsiteX281" fmla="*/ 237487 w 730787"/>
              <a:gd name="connsiteY281" fmla="*/ 695276 h 730787"/>
              <a:gd name="connsiteX282" fmla="*/ 237230 w 730787"/>
              <a:gd name="connsiteY282" fmla="*/ 696121 h 730787"/>
              <a:gd name="connsiteX283" fmla="*/ 240131 w 730787"/>
              <a:gd name="connsiteY283" fmla="*/ 698434 h 730787"/>
              <a:gd name="connsiteX284" fmla="*/ 238877 w 730787"/>
              <a:gd name="connsiteY284" fmla="*/ 696154 h 730787"/>
              <a:gd name="connsiteX285" fmla="*/ 238589 w 730787"/>
              <a:gd name="connsiteY285" fmla="*/ 695790 h 730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</a:cxnLst>
            <a:rect l="l" t="t" r="r" b="b"/>
            <a:pathLst>
              <a:path w="730787" h="730787">
                <a:moveTo>
                  <a:pt x="384453" y="0"/>
                </a:moveTo>
                <a:cubicBezTo>
                  <a:pt x="477755" y="6733"/>
                  <a:pt x="556390" y="41399"/>
                  <a:pt x="620361" y="103999"/>
                </a:cubicBezTo>
                <a:cubicBezTo>
                  <a:pt x="689720" y="171863"/>
                  <a:pt x="726527" y="256094"/>
                  <a:pt x="730787" y="356690"/>
                </a:cubicBezTo>
                <a:lnTo>
                  <a:pt x="730787" y="374134"/>
                </a:lnTo>
                <a:cubicBezTo>
                  <a:pt x="729145" y="424885"/>
                  <a:pt x="717567" y="473605"/>
                  <a:pt x="696047" y="520291"/>
                </a:cubicBezTo>
                <a:cubicBezTo>
                  <a:pt x="694604" y="523376"/>
                  <a:pt x="692276" y="524331"/>
                  <a:pt x="689070" y="523155"/>
                </a:cubicBezTo>
                <a:lnTo>
                  <a:pt x="681211" y="520218"/>
                </a:lnTo>
                <a:cubicBezTo>
                  <a:pt x="676925" y="518627"/>
                  <a:pt x="675581" y="515690"/>
                  <a:pt x="677171" y="511404"/>
                </a:cubicBezTo>
                <a:lnTo>
                  <a:pt x="683818" y="493483"/>
                </a:lnTo>
                <a:cubicBezTo>
                  <a:pt x="684186" y="492554"/>
                  <a:pt x="683866" y="492088"/>
                  <a:pt x="682864" y="492088"/>
                </a:cubicBezTo>
                <a:lnTo>
                  <a:pt x="561861" y="492088"/>
                </a:lnTo>
                <a:cubicBezTo>
                  <a:pt x="560587" y="492088"/>
                  <a:pt x="559805" y="492701"/>
                  <a:pt x="559511" y="493924"/>
                </a:cubicBezTo>
                <a:cubicBezTo>
                  <a:pt x="557822" y="501096"/>
                  <a:pt x="556144" y="508503"/>
                  <a:pt x="554480" y="516141"/>
                </a:cubicBezTo>
                <a:cubicBezTo>
                  <a:pt x="554113" y="517856"/>
                  <a:pt x="553610" y="518958"/>
                  <a:pt x="552974" y="519446"/>
                </a:cubicBezTo>
                <a:cubicBezTo>
                  <a:pt x="551873" y="520302"/>
                  <a:pt x="550687" y="520842"/>
                  <a:pt x="549412" y="521062"/>
                </a:cubicBezTo>
                <a:cubicBezTo>
                  <a:pt x="548189" y="521257"/>
                  <a:pt x="547356" y="521932"/>
                  <a:pt x="546915" y="523082"/>
                </a:cubicBezTo>
                <a:lnTo>
                  <a:pt x="544234" y="530316"/>
                </a:lnTo>
                <a:cubicBezTo>
                  <a:pt x="543599" y="532006"/>
                  <a:pt x="544187" y="532850"/>
                  <a:pt x="545997" y="532850"/>
                </a:cubicBezTo>
                <a:lnTo>
                  <a:pt x="680881" y="532850"/>
                </a:lnTo>
                <a:cubicBezTo>
                  <a:pt x="681666" y="532850"/>
                  <a:pt x="682427" y="533096"/>
                  <a:pt x="683047" y="533548"/>
                </a:cubicBezTo>
                <a:lnTo>
                  <a:pt x="695717" y="542545"/>
                </a:lnTo>
                <a:cubicBezTo>
                  <a:pt x="697516" y="543794"/>
                  <a:pt x="697964" y="546265"/>
                  <a:pt x="696715" y="548065"/>
                </a:cubicBezTo>
                <a:cubicBezTo>
                  <a:pt x="696701" y="548087"/>
                  <a:pt x="696686" y="548105"/>
                  <a:pt x="696671" y="548127"/>
                </a:cubicBezTo>
                <a:lnTo>
                  <a:pt x="668027" y="588559"/>
                </a:lnTo>
                <a:cubicBezTo>
                  <a:pt x="667242" y="589642"/>
                  <a:pt x="667499" y="591170"/>
                  <a:pt x="668600" y="591963"/>
                </a:cubicBezTo>
                <a:cubicBezTo>
                  <a:pt x="668608" y="591967"/>
                  <a:pt x="668611" y="591971"/>
                  <a:pt x="668615" y="591974"/>
                </a:cubicBezTo>
                <a:lnTo>
                  <a:pt x="724471" y="631598"/>
                </a:lnTo>
                <a:cubicBezTo>
                  <a:pt x="727207" y="633523"/>
                  <a:pt x="727868" y="637301"/>
                  <a:pt x="725943" y="640041"/>
                </a:cubicBezTo>
                <a:cubicBezTo>
                  <a:pt x="725943" y="640041"/>
                  <a:pt x="725940" y="640045"/>
                  <a:pt x="725940" y="640045"/>
                </a:cubicBezTo>
                <a:lnTo>
                  <a:pt x="684333" y="698691"/>
                </a:lnTo>
                <a:cubicBezTo>
                  <a:pt x="682599" y="701144"/>
                  <a:pt x="679210" y="701728"/>
                  <a:pt x="676757" y="699995"/>
                </a:cubicBezTo>
                <a:cubicBezTo>
                  <a:pt x="676749" y="699988"/>
                  <a:pt x="676738" y="699984"/>
                  <a:pt x="676731" y="699976"/>
                </a:cubicBezTo>
                <a:lnTo>
                  <a:pt x="619627" y="659508"/>
                </a:lnTo>
                <a:cubicBezTo>
                  <a:pt x="618720" y="658872"/>
                  <a:pt x="617937" y="659005"/>
                  <a:pt x="617276" y="659912"/>
                </a:cubicBezTo>
                <a:lnTo>
                  <a:pt x="591093" y="696855"/>
                </a:lnTo>
                <a:cubicBezTo>
                  <a:pt x="590535" y="697630"/>
                  <a:pt x="589514" y="697920"/>
                  <a:pt x="588632" y="697553"/>
                </a:cubicBezTo>
                <a:cubicBezTo>
                  <a:pt x="585867" y="696425"/>
                  <a:pt x="583969" y="696682"/>
                  <a:pt x="582940" y="698324"/>
                </a:cubicBezTo>
                <a:cubicBezTo>
                  <a:pt x="582132" y="699547"/>
                  <a:pt x="581093" y="699804"/>
                  <a:pt x="579819" y="699095"/>
                </a:cubicBezTo>
                <a:cubicBezTo>
                  <a:pt x="574703" y="696330"/>
                  <a:pt x="571729" y="693745"/>
                  <a:pt x="570895" y="691347"/>
                </a:cubicBezTo>
                <a:cubicBezTo>
                  <a:pt x="553147" y="640008"/>
                  <a:pt x="539460" y="600850"/>
                  <a:pt x="529839" y="573870"/>
                </a:cubicBezTo>
                <a:cubicBezTo>
                  <a:pt x="529204" y="572081"/>
                  <a:pt x="528554" y="572081"/>
                  <a:pt x="527893" y="573870"/>
                </a:cubicBezTo>
                <a:lnTo>
                  <a:pt x="517059" y="602954"/>
                </a:lnTo>
                <a:cubicBezTo>
                  <a:pt x="516644" y="604056"/>
                  <a:pt x="516839" y="605037"/>
                  <a:pt x="517647" y="605892"/>
                </a:cubicBezTo>
                <a:cubicBezTo>
                  <a:pt x="519310" y="607655"/>
                  <a:pt x="519457" y="609932"/>
                  <a:pt x="518088" y="612723"/>
                </a:cubicBezTo>
                <a:cubicBezTo>
                  <a:pt x="501342" y="646409"/>
                  <a:pt x="479650" y="674454"/>
                  <a:pt x="453015" y="696855"/>
                </a:cubicBezTo>
                <a:cubicBezTo>
                  <a:pt x="452133" y="697589"/>
                  <a:pt x="452243" y="697810"/>
                  <a:pt x="453345" y="697516"/>
                </a:cubicBezTo>
                <a:cubicBezTo>
                  <a:pt x="479932" y="690219"/>
                  <a:pt x="504537" y="680598"/>
                  <a:pt x="527158" y="668652"/>
                </a:cubicBezTo>
                <a:cubicBezTo>
                  <a:pt x="531223" y="666496"/>
                  <a:pt x="534418" y="667429"/>
                  <a:pt x="536743" y="671443"/>
                </a:cubicBezTo>
                <a:lnTo>
                  <a:pt x="540782" y="678457"/>
                </a:lnTo>
                <a:cubicBezTo>
                  <a:pt x="543012" y="682324"/>
                  <a:pt x="542141" y="685276"/>
                  <a:pt x="538175" y="687307"/>
                </a:cubicBezTo>
                <a:cubicBezTo>
                  <a:pt x="507596" y="702878"/>
                  <a:pt x="478710" y="713883"/>
                  <a:pt x="451509" y="720321"/>
                </a:cubicBezTo>
                <a:cubicBezTo>
                  <a:pt x="435891" y="724019"/>
                  <a:pt x="414859" y="727508"/>
                  <a:pt x="388419" y="730787"/>
                </a:cubicBezTo>
                <a:lnTo>
                  <a:pt x="346702" y="730787"/>
                </a:lnTo>
                <a:cubicBezTo>
                  <a:pt x="238565" y="722488"/>
                  <a:pt x="150993" y="678273"/>
                  <a:pt x="83985" y="598144"/>
                </a:cubicBezTo>
                <a:cubicBezTo>
                  <a:pt x="31374" y="535201"/>
                  <a:pt x="3379" y="460789"/>
                  <a:pt x="0" y="374905"/>
                </a:cubicBezTo>
                <a:lnTo>
                  <a:pt x="0" y="356727"/>
                </a:lnTo>
                <a:cubicBezTo>
                  <a:pt x="2595" y="284383"/>
                  <a:pt x="23160" y="219714"/>
                  <a:pt x="61695" y="162719"/>
                </a:cubicBezTo>
                <a:cubicBezTo>
                  <a:pt x="116926" y="81023"/>
                  <a:pt x="193983" y="29207"/>
                  <a:pt x="292866" y="7271"/>
                </a:cubicBezTo>
                <a:cubicBezTo>
                  <a:pt x="300676" y="5533"/>
                  <a:pt x="318437" y="3109"/>
                  <a:pt x="346151" y="0"/>
                </a:cubicBezTo>
                <a:lnTo>
                  <a:pt x="384453" y="0"/>
                </a:lnTo>
                <a:close/>
                <a:moveTo>
                  <a:pt x="367266" y="23796"/>
                </a:moveTo>
                <a:cubicBezTo>
                  <a:pt x="367266" y="22843"/>
                  <a:pt x="366494" y="22071"/>
                  <a:pt x="365540" y="22071"/>
                </a:cubicBezTo>
                <a:lnTo>
                  <a:pt x="365394" y="22071"/>
                </a:lnTo>
                <a:cubicBezTo>
                  <a:pt x="364440" y="22071"/>
                  <a:pt x="363668" y="22843"/>
                  <a:pt x="363668" y="23796"/>
                </a:cubicBezTo>
                <a:lnTo>
                  <a:pt x="363668" y="232603"/>
                </a:lnTo>
                <a:cubicBezTo>
                  <a:pt x="363668" y="233557"/>
                  <a:pt x="364440" y="234329"/>
                  <a:pt x="365394" y="234329"/>
                </a:cubicBezTo>
                <a:lnTo>
                  <a:pt x="365540" y="234329"/>
                </a:lnTo>
                <a:cubicBezTo>
                  <a:pt x="366494" y="234329"/>
                  <a:pt x="367266" y="233557"/>
                  <a:pt x="367266" y="232603"/>
                </a:cubicBezTo>
                <a:lnTo>
                  <a:pt x="367266" y="23796"/>
                </a:lnTo>
                <a:close/>
                <a:moveTo>
                  <a:pt x="351879" y="22989"/>
                </a:moveTo>
                <a:cubicBezTo>
                  <a:pt x="260549" y="36539"/>
                  <a:pt x="210937" y="154824"/>
                  <a:pt x="194044" y="233889"/>
                </a:cubicBezTo>
                <a:cubicBezTo>
                  <a:pt x="193897" y="234501"/>
                  <a:pt x="194154" y="234807"/>
                  <a:pt x="194815" y="234807"/>
                </a:cubicBezTo>
                <a:lnTo>
                  <a:pt x="348685" y="235541"/>
                </a:lnTo>
                <a:cubicBezTo>
                  <a:pt x="350888" y="235566"/>
                  <a:pt x="351990" y="234476"/>
                  <a:pt x="351990" y="232273"/>
                </a:cubicBezTo>
                <a:lnTo>
                  <a:pt x="352981" y="23907"/>
                </a:lnTo>
                <a:cubicBezTo>
                  <a:pt x="352967" y="23380"/>
                  <a:pt x="352528" y="22964"/>
                  <a:pt x="352001" y="22977"/>
                </a:cubicBezTo>
                <a:cubicBezTo>
                  <a:pt x="351961" y="22979"/>
                  <a:pt x="351920" y="22982"/>
                  <a:pt x="351879" y="22989"/>
                </a:cubicBezTo>
                <a:close/>
                <a:moveTo>
                  <a:pt x="378944" y="22878"/>
                </a:moveTo>
                <a:cubicBezTo>
                  <a:pt x="378423" y="22797"/>
                  <a:pt x="377934" y="23154"/>
                  <a:pt x="377854" y="23675"/>
                </a:cubicBezTo>
                <a:cubicBezTo>
                  <a:pt x="377846" y="23727"/>
                  <a:pt x="377843" y="23780"/>
                  <a:pt x="377843" y="23833"/>
                </a:cubicBezTo>
                <a:lnTo>
                  <a:pt x="378797" y="232089"/>
                </a:lnTo>
                <a:cubicBezTo>
                  <a:pt x="378797" y="234293"/>
                  <a:pt x="379899" y="235394"/>
                  <a:pt x="382102" y="235394"/>
                </a:cubicBezTo>
                <a:lnTo>
                  <a:pt x="535935" y="234660"/>
                </a:lnTo>
                <a:cubicBezTo>
                  <a:pt x="536596" y="234660"/>
                  <a:pt x="536853" y="234354"/>
                  <a:pt x="536706" y="233742"/>
                </a:cubicBezTo>
                <a:cubicBezTo>
                  <a:pt x="519814" y="154714"/>
                  <a:pt x="470238" y="36466"/>
                  <a:pt x="378944" y="22878"/>
                </a:cubicBezTo>
                <a:close/>
                <a:moveTo>
                  <a:pt x="464729" y="44802"/>
                </a:moveTo>
                <a:cubicBezTo>
                  <a:pt x="467766" y="47348"/>
                  <a:pt x="474938" y="55488"/>
                  <a:pt x="486249" y="69223"/>
                </a:cubicBezTo>
                <a:cubicBezTo>
                  <a:pt x="522935" y="113878"/>
                  <a:pt x="546805" y="176601"/>
                  <a:pt x="558373" y="232934"/>
                </a:cubicBezTo>
                <a:cubicBezTo>
                  <a:pt x="558714" y="234721"/>
                  <a:pt x="559805" y="235602"/>
                  <a:pt x="561641" y="235578"/>
                </a:cubicBezTo>
                <a:lnTo>
                  <a:pt x="682570" y="234696"/>
                </a:lnTo>
                <a:cubicBezTo>
                  <a:pt x="683036" y="234693"/>
                  <a:pt x="683411" y="234312"/>
                  <a:pt x="683407" y="233846"/>
                </a:cubicBezTo>
                <a:cubicBezTo>
                  <a:pt x="683407" y="233734"/>
                  <a:pt x="683385" y="233624"/>
                  <a:pt x="683341" y="233521"/>
                </a:cubicBezTo>
                <a:cubicBezTo>
                  <a:pt x="650412" y="157456"/>
                  <a:pt x="597934" y="100070"/>
                  <a:pt x="525910" y="61364"/>
                </a:cubicBezTo>
                <a:cubicBezTo>
                  <a:pt x="504489" y="49833"/>
                  <a:pt x="480494" y="40224"/>
                  <a:pt x="453933" y="32537"/>
                </a:cubicBezTo>
                <a:cubicBezTo>
                  <a:pt x="450701" y="31606"/>
                  <a:pt x="450323" y="32255"/>
                  <a:pt x="452794" y="34483"/>
                </a:cubicBezTo>
                <a:cubicBezTo>
                  <a:pt x="456294" y="37690"/>
                  <a:pt x="460275" y="41130"/>
                  <a:pt x="464729" y="44802"/>
                </a:cubicBezTo>
                <a:close/>
                <a:moveTo>
                  <a:pt x="237230" y="34813"/>
                </a:moveTo>
                <a:cubicBezTo>
                  <a:pt x="236716" y="35303"/>
                  <a:pt x="236814" y="35536"/>
                  <a:pt x="237524" y="35511"/>
                </a:cubicBezTo>
                <a:cubicBezTo>
                  <a:pt x="238112" y="35511"/>
                  <a:pt x="238491" y="35462"/>
                  <a:pt x="238663" y="35364"/>
                </a:cubicBezTo>
                <a:cubicBezTo>
                  <a:pt x="239838" y="34605"/>
                  <a:pt x="239776" y="34226"/>
                  <a:pt x="238479" y="34226"/>
                </a:cubicBezTo>
                <a:cubicBezTo>
                  <a:pt x="238014" y="34226"/>
                  <a:pt x="237598" y="34422"/>
                  <a:pt x="237230" y="34813"/>
                </a:cubicBezTo>
                <a:close/>
                <a:moveTo>
                  <a:pt x="264809" y="45683"/>
                </a:moveTo>
                <a:cubicBezTo>
                  <a:pt x="269216" y="42036"/>
                  <a:pt x="273158" y="38620"/>
                  <a:pt x="276634" y="35438"/>
                </a:cubicBezTo>
                <a:cubicBezTo>
                  <a:pt x="279082" y="33210"/>
                  <a:pt x="278703" y="32561"/>
                  <a:pt x="275496" y="33491"/>
                </a:cubicBezTo>
                <a:cubicBezTo>
                  <a:pt x="249153" y="41179"/>
                  <a:pt x="225369" y="50776"/>
                  <a:pt x="204143" y="62282"/>
                </a:cubicBezTo>
                <a:cubicBezTo>
                  <a:pt x="132729" y="100866"/>
                  <a:pt x="80778" y="157958"/>
                  <a:pt x="48291" y="233558"/>
                </a:cubicBezTo>
                <a:cubicBezTo>
                  <a:pt x="48109" y="233966"/>
                  <a:pt x="48310" y="234445"/>
                  <a:pt x="48738" y="234627"/>
                </a:cubicBezTo>
                <a:cubicBezTo>
                  <a:pt x="48841" y="234670"/>
                  <a:pt x="48951" y="234694"/>
                  <a:pt x="49062" y="234696"/>
                </a:cubicBezTo>
                <a:lnTo>
                  <a:pt x="169109" y="235284"/>
                </a:lnTo>
                <a:cubicBezTo>
                  <a:pt x="170897" y="235284"/>
                  <a:pt x="171974" y="234403"/>
                  <a:pt x="172341" y="232640"/>
                </a:cubicBezTo>
                <a:cubicBezTo>
                  <a:pt x="183652" y="176711"/>
                  <a:pt x="207191" y="114392"/>
                  <a:pt x="243510" y="69957"/>
                </a:cubicBezTo>
                <a:cubicBezTo>
                  <a:pt x="254698" y="56321"/>
                  <a:pt x="261798" y="48229"/>
                  <a:pt x="264809" y="45683"/>
                </a:cubicBezTo>
                <a:close/>
                <a:moveTo>
                  <a:pt x="503288" y="38192"/>
                </a:moveTo>
                <a:cubicBezTo>
                  <a:pt x="502895" y="37653"/>
                  <a:pt x="502444" y="37482"/>
                  <a:pt x="501929" y="37678"/>
                </a:cubicBezTo>
                <a:cubicBezTo>
                  <a:pt x="501294" y="37898"/>
                  <a:pt x="501280" y="38143"/>
                  <a:pt x="501893" y="38412"/>
                </a:cubicBezTo>
                <a:cubicBezTo>
                  <a:pt x="503681" y="39196"/>
                  <a:pt x="504316" y="39318"/>
                  <a:pt x="503802" y="38779"/>
                </a:cubicBezTo>
                <a:cubicBezTo>
                  <a:pt x="503630" y="38608"/>
                  <a:pt x="503461" y="38412"/>
                  <a:pt x="503288" y="38192"/>
                </a:cubicBezTo>
                <a:close/>
                <a:moveTo>
                  <a:pt x="167771" y="71006"/>
                </a:moveTo>
                <a:cubicBezTo>
                  <a:pt x="167639" y="70853"/>
                  <a:pt x="167046" y="71146"/>
                  <a:pt x="166446" y="71662"/>
                </a:cubicBezTo>
                <a:cubicBezTo>
                  <a:pt x="166446" y="71662"/>
                  <a:pt x="166446" y="71662"/>
                  <a:pt x="166446" y="71662"/>
                </a:cubicBezTo>
                <a:cubicBezTo>
                  <a:pt x="165847" y="72178"/>
                  <a:pt x="165468" y="72720"/>
                  <a:pt x="165600" y="72874"/>
                </a:cubicBezTo>
                <a:cubicBezTo>
                  <a:pt x="165732" y="73028"/>
                  <a:pt x="166325" y="72735"/>
                  <a:pt x="166925" y="72219"/>
                </a:cubicBezTo>
                <a:cubicBezTo>
                  <a:pt x="166925" y="72219"/>
                  <a:pt x="166925" y="72219"/>
                  <a:pt x="166925" y="72219"/>
                </a:cubicBezTo>
                <a:cubicBezTo>
                  <a:pt x="167524" y="71703"/>
                  <a:pt x="167903" y="71160"/>
                  <a:pt x="167771" y="71006"/>
                </a:cubicBezTo>
                <a:close/>
                <a:moveTo>
                  <a:pt x="153575" y="80974"/>
                </a:moveTo>
                <a:cubicBezTo>
                  <a:pt x="152914" y="81366"/>
                  <a:pt x="152486" y="81709"/>
                  <a:pt x="152290" y="82002"/>
                </a:cubicBezTo>
                <a:cubicBezTo>
                  <a:pt x="151237" y="83740"/>
                  <a:pt x="151494" y="83887"/>
                  <a:pt x="153061" y="82443"/>
                </a:cubicBezTo>
                <a:cubicBezTo>
                  <a:pt x="154016" y="81562"/>
                  <a:pt x="154849" y="80619"/>
                  <a:pt x="155558" y="79615"/>
                </a:cubicBezTo>
                <a:cubicBezTo>
                  <a:pt x="155779" y="79297"/>
                  <a:pt x="155754" y="79273"/>
                  <a:pt x="155485" y="79542"/>
                </a:cubicBezTo>
                <a:cubicBezTo>
                  <a:pt x="154946" y="80056"/>
                  <a:pt x="154310" y="80533"/>
                  <a:pt x="153575" y="80974"/>
                </a:cubicBezTo>
                <a:close/>
                <a:moveTo>
                  <a:pt x="141856" y="89535"/>
                </a:moveTo>
                <a:cubicBezTo>
                  <a:pt x="141744" y="89417"/>
                  <a:pt x="137759" y="93217"/>
                  <a:pt x="132954" y="98021"/>
                </a:cubicBezTo>
                <a:cubicBezTo>
                  <a:pt x="132953" y="98023"/>
                  <a:pt x="132951" y="98025"/>
                  <a:pt x="132950" y="98026"/>
                </a:cubicBezTo>
                <a:cubicBezTo>
                  <a:pt x="128145" y="102831"/>
                  <a:pt x="124344" y="106818"/>
                  <a:pt x="124459" y="106933"/>
                </a:cubicBezTo>
                <a:cubicBezTo>
                  <a:pt x="124459" y="106933"/>
                  <a:pt x="124459" y="106933"/>
                  <a:pt x="124459" y="106933"/>
                </a:cubicBezTo>
                <a:cubicBezTo>
                  <a:pt x="124571" y="107050"/>
                  <a:pt x="128556" y="103251"/>
                  <a:pt x="133361" y="98447"/>
                </a:cubicBezTo>
                <a:cubicBezTo>
                  <a:pt x="133362" y="98445"/>
                  <a:pt x="133364" y="98443"/>
                  <a:pt x="133365" y="98442"/>
                </a:cubicBezTo>
                <a:cubicBezTo>
                  <a:pt x="138170" y="93637"/>
                  <a:pt x="141971" y="89650"/>
                  <a:pt x="141856" y="89535"/>
                </a:cubicBezTo>
                <a:cubicBezTo>
                  <a:pt x="141856" y="89535"/>
                  <a:pt x="141856" y="89535"/>
                  <a:pt x="141856" y="89535"/>
                </a:cubicBezTo>
                <a:close/>
                <a:moveTo>
                  <a:pt x="89628" y="141829"/>
                </a:moveTo>
                <a:cubicBezTo>
                  <a:pt x="89741" y="141945"/>
                  <a:pt x="93489" y="138371"/>
                  <a:pt x="97999" y="133845"/>
                </a:cubicBezTo>
                <a:cubicBezTo>
                  <a:pt x="98000" y="133844"/>
                  <a:pt x="98000" y="133843"/>
                  <a:pt x="98001" y="133842"/>
                </a:cubicBezTo>
                <a:cubicBezTo>
                  <a:pt x="102511" y="129317"/>
                  <a:pt x="106074" y="125555"/>
                  <a:pt x="105959" y="125441"/>
                </a:cubicBezTo>
                <a:cubicBezTo>
                  <a:pt x="105959" y="125441"/>
                  <a:pt x="105959" y="125441"/>
                  <a:pt x="105959" y="125441"/>
                </a:cubicBezTo>
                <a:cubicBezTo>
                  <a:pt x="105845" y="125325"/>
                  <a:pt x="102098" y="128899"/>
                  <a:pt x="97588" y="133424"/>
                </a:cubicBezTo>
                <a:cubicBezTo>
                  <a:pt x="97587" y="133426"/>
                  <a:pt x="97586" y="133426"/>
                  <a:pt x="97585" y="133427"/>
                </a:cubicBezTo>
                <a:cubicBezTo>
                  <a:pt x="93075" y="137953"/>
                  <a:pt x="89513" y="141714"/>
                  <a:pt x="89628" y="141829"/>
                </a:cubicBezTo>
                <a:cubicBezTo>
                  <a:pt x="89628" y="141829"/>
                  <a:pt x="89628" y="141829"/>
                  <a:pt x="89628" y="141829"/>
                </a:cubicBezTo>
                <a:close/>
                <a:moveTo>
                  <a:pt x="158019" y="365394"/>
                </a:moveTo>
                <a:cubicBezTo>
                  <a:pt x="158044" y="329405"/>
                  <a:pt x="161092" y="293576"/>
                  <a:pt x="167163" y="257905"/>
                </a:cubicBezTo>
                <a:cubicBezTo>
                  <a:pt x="167224" y="257546"/>
                  <a:pt x="166982" y="257204"/>
                  <a:pt x="166621" y="257143"/>
                </a:cubicBezTo>
                <a:cubicBezTo>
                  <a:pt x="166582" y="257137"/>
                  <a:pt x="166542" y="257134"/>
                  <a:pt x="166502" y="257134"/>
                </a:cubicBezTo>
                <a:lnTo>
                  <a:pt x="40836" y="257097"/>
                </a:lnTo>
                <a:cubicBezTo>
                  <a:pt x="39563" y="257097"/>
                  <a:pt x="38743" y="257710"/>
                  <a:pt x="38375" y="258934"/>
                </a:cubicBezTo>
                <a:cubicBezTo>
                  <a:pt x="27163" y="296318"/>
                  <a:pt x="21544" y="331780"/>
                  <a:pt x="21520" y="365320"/>
                </a:cubicBezTo>
                <a:cubicBezTo>
                  <a:pt x="21495" y="398859"/>
                  <a:pt x="27089" y="434334"/>
                  <a:pt x="38302" y="471743"/>
                </a:cubicBezTo>
                <a:cubicBezTo>
                  <a:pt x="38645" y="472966"/>
                  <a:pt x="39453" y="473579"/>
                  <a:pt x="40726" y="473579"/>
                </a:cubicBezTo>
                <a:lnTo>
                  <a:pt x="166428" y="473616"/>
                </a:lnTo>
                <a:cubicBezTo>
                  <a:pt x="166793" y="473598"/>
                  <a:pt x="167074" y="473289"/>
                  <a:pt x="167056" y="472922"/>
                </a:cubicBezTo>
                <a:cubicBezTo>
                  <a:pt x="167055" y="472911"/>
                  <a:pt x="167054" y="472896"/>
                  <a:pt x="167053" y="472882"/>
                </a:cubicBezTo>
                <a:cubicBezTo>
                  <a:pt x="161030" y="437187"/>
                  <a:pt x="158019" y="401356"/>
                  <a:pt x="158019" y="365394"/>
                </a:cubicBezTo>
                <a:close/>
                <a:moveTo>
                  <a:pt x="179465" y="365357"/>
                </a:moveTo>
                <a:cubicBezTo>
                  <a:pt x="179465" y="402153"/>
                  <a:pt x="182611" y="437617"/>
                  <a:pt x="188903" y="471743"/>
                </a:cubicBezTo>
                <a:cubicBezTo>
                  <a:pt x="189148" y="473040"/>
                  <a:pt x="189919" y="473690"/>
                  <a:pt x="191216" y="473690"/>
                </a:cubicBezTo>
                <a:lnTo>
                  <a:pt x="349786" y="473690"/>
                </a:lnTo>
                <a:cubicBezTo>
                  <a:pt x="351348" y="473690"/>
                  <a:pt x="352614" y="472423"/>
                  <a:pt x="352614" y="470862"/>
                </a:cubicBezTo>
                <a:cubicBezTo>
                  <a:pt x="352540" y="445964"/>
                  <a:pt x="352504" y="410809"/>
                  <a:pt x="352504" y="365394"/>
                </a:cubicBezTo>
                <a:cubicBezTo>
                  <a:pt x="352504" y="319955"/>
                  <a:pt x="352540" y="284799"/>
                  <a:pt x="352614" y="259925"/>
                </a:cubicBezTo>
                <a:cubicBezTo>
                  <a:pt x="352614" y="258378"/>
                  <a:pt x="351370" y="257118"/>
                  <a:pt x="349823" y="257097"/>
                </a:cubicBezTo>
                <a:lnTo>
                  <a:pt x="191253" y="257061"/>
                </a:lnTo>
                <a:cubicBezTo>
                  <a:pt x="189956" y="257061"/>
                  <a:pt x="189172" y="257710"/>
                  <a:pt x="188903" y="259007"/>
                </a:cubicBezTo>
                <a:cubicBezTo>
                  <a:pt x="182611" y="293135"/>
                  <a:pt x="179465" y="328585"/>
                  <a:pt x="179465" y="365357"/>
                </a:cubicBezTo>
                <a:close/>
                <a:moveTo>
                  <a:pt x="367340" y="259558"/>
                </a:moveTo>
                <a:cubicBezTo>
                  <a:pt x="367340" y="258544"/>
                  <a:pt x="366518" y="257722"/>
                  <a:pt x="365504" y="257722"/>
                </a:cubicBezTo>
                <a:lnTo>
                  <a:pt x="365357" y="257722"/>
                </a:lnTo>
                <a:cubicBezTo>
                  <a:pt x="364343" y="257722"/>
                  <a:pt x="363521" y="258544"/>
                  <a:pt x="363521" y="259558"/>
                </a:cubicBezTo>
                <a:lnTo>
                  <a:pt x="363521" y="471229"/>
                </a:lnTo>
                <a:cubicBezTo>
                  <a:pt x="363521" y="472243"/>
                  <a:pt x="364343" y="473065"/>
                  <a:pt x="365357" y="473065"/>
                </a:cubicBezTo>
                <a:lnTo>
                  <a:pt x="365504" y="473065"/>
                </a:lnTo>
                <a:cubicBezTo>
                  <a:pt x="366518" y="473065"/>
                  <a:pt x="367340" y="472243"/>
                  <a:pt x="367340" y="471229"/>
                </a:cubicBezTo>
                <a:lnTo>
                  <a:pt x="367340" y="259558"/>
                </a:lnTo>
                <a:close/>
                <a:moveTo>
                  <a:pt x="551359" y="365357"/>
                </a:moveTo>
                <a:cubicBezTo>
                  <a:pt x="551359" y="328560"/>
                  <a:pt x="548211" y="293074"/>
                  <a:pt x="541921" y="258897"/>
                </a:cubicBezTo>
                <a:cubicBezTo>
                  <a:pt x="541675" y="257624"/>
                  <a:pt x="540904" y="256987"/>
                  <a:pt x="539607" y="256987"/>
                </a:cubicBezTo>
                <a:lnTo>
                  <a:pt x="380927" y="256987"/>
                </a:lnTo>
                <a:cubicBezTo>
                  <a:pt x="379367" y="256987"/>
                  <a:pt x="378100" y="258253"/>
                  <a:pt x="378100" y="259815"/>
                </a:cubicBezTo>
                <a:cubicBezTo>
                  <a:pt x="378173" y="284713"/>
                  <a:pt x="378210" y="319894"/>
                  <a:pt x="378210" y="365357"/>
                </a:cubicBezTo>
                <a:cubicBezTo>
                  <a:pt x="378210" y="410820"/>
                  <a:pt x="378173" y="446000"/>
                  <a:pt x="378100" y="470899"/>
                </a:cubicBezTo>
                <a:cubicBezTo>
                  <a:pt x="378078" y="472459"/>
                  <a:pt x="379330" y="473741"/>
                  <a:pt x="380891" y="473763"/>
                </a:cubicBezTo>
                <a:cubicBezTo>
                  <a:pt x="380902" y="473763"/>
                  <a:pt x="380916" y="473763"/>
                  <a:pt x="380927" y="473763"/>
                </a:cubicBezTo>
                <a:lnTo>
                  <a:pt x="539607" y="473763"/>
                </a:lnTo>
                <a:cubicBezTo>
                  <a:pt x="540904" y="473763"/>
                  <a:pt x="541675" y="473113"/>
                  <a:pt x="541921" y="471817"/>
                </a:cubicBezTo>
                <a:cubicBezTo>
                  <a:pt x="548211" y="437639"/>
                  <a:pt x="551359" y="402153"/>
                  <a:pt x="551359" y="365357"/>
                </a:cubicBezTo>
                <a:close/>
                <a:moveTo>
                  <a:pt x="572915" y="365394"/>
                </a:moveTo>
                <a:cubicBezTo>
                  <a:pt x="572915" y="401430"/>
                  <a:pt x="569878" y="437308"/>
                  <a:pt x="563808" y="473029"/>
                </a:cubicBezTo>
                <a:cubicBezTo>
                  <a:pt x="563745" y="473388"/>
                  <a:pt x="563988" y="473730"/>
                  <a:pt x="564348" y="473792"/>
                </a:cubicBezTo>
                <a:cubicBezTo>
                  <a:pt x="564388" y="473796"/>
                  <a:pt x="564428" y="473800"/>
                  <a:pt x="564469" y="473800"/>
                </a:cubicBezTo>
                <a:lnTo>
                  <a:pt x="690355" y="473800"/>
                </a:lnTo>
                <a:cubicBezTo>
                  <a:pt x="691629" y="473800"/>
                  <a:pt x="692437" y="473186"/>
                  <a:pt x="692779" y="471964"/>
                </a:cubicBezTo>
                <a:cubicBezTo>
                  <a:pt x="704016" y="434506"/>
                  <a:pt x="709635" y="398984"/>
                  <a:pt x="709635" y="365394"/>
                </a:cubicBezTo>
                <a:cubicBezTo>
                  <a:pt x="709635" y="331804"/>
                  <a:pt x="704027" y="296281"/>
                  <a:pt x="692815" y="258823"/>
                </a:cubicBezTo>
                <a:cubicBezTo>
                  <a:pt x="692448" y="257599"/>
                  <a:pt x="691629" y="256987"/>
                  <a:pt x="690355" y="256987"/>
                </a:cubicBezTo>
                <a:lnTo>
                  <a:pt x="564469" y="256987"/>
                </a:lnTo>
                <a:cubicBezTo>
                  <a:pt x="564105" y="257005"/>
                  <a:pt x="563822" y="257316"/>
                  <a:pt x="563841" y="257680"/>
                </a:cubicBezTo>
                <a:cubicBezTo>
                  <a:pt x="563841" y="257694"/>
                  <a:pt x="563844" y="257708"/>
                  <a:pt x="563844" y="257722"/>
                </a:cubicBezTo>
                <a:cubicBezTo>
                  <a:pt x="569893" y="293465"/>
                  <a:pt x="572915" y="329356"/>
                  <a:pt x="572915" y="365394"/>
                </a:cubicBezTo>
                <a:close/>
                <a:moveTo>
                  <a:pt x="264919" y="685287"/>
                </a:moveTo>
                <a:cubicBezTo>
                  <a:pt x="261859" y="682691"/>
                  <a:pt x="254686" y="674428"/>
                  <a:pt x="243400" y="660499"/>
                </a:cubicBezTo>
                <a:cubicBezTo>
                  <a:pt x="206714" y="615183"/>
                  <a:pt x="183101" y="551763"/>
                  <a:pt x="171863" y="494879"/>
                </a:cubicBezTo>
                <a:cubicBezTo>
                  <a:pt x="171521" y="493090"/>
                  <a:pt x="170431" y="492198"/>
                  <a:pt x="168595" y="492198"/>
                </a:cubicBezTo>
                <a:lnTo>
                  <a:pt x="46638" y="492198"/>
                </a:lnTo>
                <a:cubicBezTo>
                  <a:pt x="46172" y="492202"/>
                  <a:pt x="45796" y="492583"/>
                  <a:pt x="45800" y="493050"/>
                </a:cubicBezTo>
                <a:cubicBezTo>
                  <a:pt x="45801" y="493160"/>
                  <a:pt x="45823" y="493270"/>
                  <a:pt x="45867" y="493373"/>
                </a:cubicBezTo>
                <a:cubicBezTo>
                  <a:pt x="78502" y="570319"/>
                  <a:pt x="130991" y="628576"/>
                  <a:pt x="203335" y="668138"/>
                </a:cubicBezTo>
                <a:cubicBezTo>
                  <a:pt x="224855" y="679915"/>
                  <a:pt x="248982" y="689778"/>
                  <a:pt x="275716" y="697736"/>
                </a:cubicBezTo>
                <a:cubicBezTo>
                  <a:pt x="278948" y="698691"/>
                  <a:pt x="279327" y="698030"/>
                  <a:pt x="276854" y="695753"/>
                </a:cubicBezTo>
                <a:cubicBezTo>
                  <a:pt x="273354" y="692496"/>
                  <a:pt x="269375" y="689007"/>
                  <a:pt x="264919" y="685287"/>
                </a:cubicBezTo>
                <a:close/>
                <a:moveTo>
                  <a:pt x="351512" y="707395"/>
                </a:moveTo>
                <a:cubicBezTo>
                  <a:pt x="352054" y="707475"/>
                  <a:pt x="352558" y="707119"/>
                  <a:pt x="352640" y="706598"/>
                </a:cubicBezTo>
                <a:cubicBezTo>
                  <a:pt x="352648" y="706546"/>
                  <a:pt x="352652" y="706491"/>
                  <a:pt x="352651" y="706440"/>
                </a:cubicBezTo>
                <a:lnTo>
                  <a:pt x="352651" y="495466"/>
                </a:lnTo>
                <a:cubicBezTo>
                  <a:pt x="352651" y="493237"/>
                  <a:pt x="351537" y="492124"/>
                  <a:pt x="349309" y="492124"/>
                </a:cubicBezTo>
                <a:lnTo>
                  <a:pt x="193493" y="492124"/>
                </a:lnTo>
                <a:cubicBezTo>
                  <a:pt x="192832" y="492124"/>
                  <a:pt x="192575" y="492444"/>
                  <a:pt x="192722" y="493079"/>
                </a:cubicBezTo>
                <a:cubicBezTo>
                  <a:pt x="209431" y="573209"/>
                  <a:pt x="259117" y="693219"/>
                  <a:pt x="351512" y="707395"/>
                </a:cubicBezTo>
                <a:close/>
                <a:moveTo>
                  <a:pt x="367303" y="494622"/>
                </a:moveTo>
                <a:cubicBezTo>
                  <a:pt x="367303" y="493626"/>
                  <a:pt x="366497" y="492822"/>
                  <a:pt x="365504" y="492822"/>
                </a:cubicBezTo>
                <a:lnTo>
                  <a:pt x="365357" y="492822"/>
                </a:lnTo>
                <a:cubicBezTo>
                  <a:pt x="364363" y="492822"/>
                  <a:pt x="363557" y="493626"/>
                  <a:pt x="363557" y="494622"/>
                </a:cubicBezTo>
                <a:lnTo>
                  <a:pt x="363557" y="707027"/>
                </a:lnTo>
                <a:cubicBezTo>
                  <a:pt x="363557" y="708022"/>
                  <a:pt x="364363" y="708827"/>
                  <a:pt x="365357" y="708827"/>
                </a:cubicBezTo>
                <a:lnTo>
                  <a:pt x="365504" y="708827"/>
                </a:lnTo>
                <a:cubicBezTo>
                  <a:pt x="366497" y="708827"/>
                  <a:pt x="367303" y="708022"/>
                  <a:pt x="367303" y="707027"/>
                </a:cubicBezTo>
                <a:lnTo>
                  <a:pt x="367303" y="494622"/>
                </a:lnTo>
                <a:close/>
                <a:moveTo>
                  <a:pt x="518088" y="537661"/>
                </a:moveTo>
                <a:cubicBezTo>
                  <a:pt x="517518" y="535505"/>
                  <a:pt x="518807" y="533295"/>
                  <a:pt x="520967" y="532725"/>
                </a:cubicBezTo>
                <a:cubicBezTo>
                  <a:pt x="521297" y="532637"/>
                  <a:pt x="521639" y="532593"/>
                  <a:pt x="521980" y="532593"/>
                </a:cubicBezTo>
                <a:lnTo>
                  <a:pt x="529729" y="532593"/>
                </a:lnTo>
                <a:cubicBezTo>
                  <a:pt x="531077" y="532593"/>
                  <a:pt x="531980" y="531958"/>
                  <a:pt x="532446" y="530684"/>
                </a:cubicBezTo>
                <a:lnTo>
                  <a:pt x="536449" y="519960"/>
                </a:lnTo>
                <a:cubicBezTo>
                  <a:pt x="536769" y="519105"/>
                  <a:pt x="536622" y="518345"/>
                  <a:pt x="536008" y="517684"/>
                </a:cubicBezTo>
                <a:cubicBezTo>
                  <a:pt x="535641" y="517291"/>
                  <a:pt x="535248" y="516949"/>
                  <a:pt x="534833" y="516655"/>
                </a:cubicBezTo>
                <a:cubicBezTo>
                  <a:pt x="533511" y="515800"/>
                  <a:pt x="533034" y="514610"/>
                  <a:pt x="533401" y="513093"/>
                </a:cubicBezTo>
                <a:lnTo>
                  <a:pt x="537845" y="493997"/>
                </a:lnTo>
                <a:cubicBezTo>
                  <a:pt x="538047" y="493127"/>
                  <a:pt x="537507" y="492260"/>
                  <a:pt x="536640" y="492058"/>
                </a:cubicBezTo>
                <a:cubicBezTo>
                  <a:pt x="536515" y="492029"/>
                  <a:pt x="536390" y="492014"/>
                  <a:pt x="536265" y="492014"/>
                </a:cubicBezTo>
                <a:lnTo>
                  <a:pt x="379128" y="492014"/>
                </a:lnTo>
                <a:cubicBezTo>
                  <a:pt x="378621" y="492014"/>
                  <a:pt x="378210" y="492426"/>
                  <a:pt x="378210" y="492932"/>
                </a:cubicBezTo>
                <a:lnTo>
                  <a:pt x="378210" y="705265"/>
                </a:lnTo>
                <a:cubicBezTo>
                  <a:pt x="378210" y="706928"/>
                  <a:pt x="379029" y="707652"/>
                  <a:pt x="380670" y="707431"/>
                </a:cubicBezTo>
                <a:cubicBezTo>
                  <a:pt x="433735" y="700233"/>
                  <a:pt x="476077" y="649189"/>
                  <a:pt x="498735" y="604460"/>
                </a:cubicBezTo>
                <a:cubicBezTo>
                  <a:pt x="500314" y="601302"/>
                  <a:pt x="501893" y="600567"/>
                  <a:pt x="505014" y="599576"/>
                </a:cubicBezTo>
                <a:cubicBezTo>
                  <a:pt x="506164" y="599209"/>
                  <a:pt x="506961" y="598463"/>
                  <a:pt x="507401" y="597336"/>
                </a:cubicBezTo>
                <a:lnTo>
                  <a:pt x="522127" y="557675"/>
                </a:lnTo>
                <a:cubicBezTo>
                  <a:pt x="522616" y="556401"/>
                  <a:pt x="522689" y="555115"/>
                  <a:pt x="522347" y="553819"/>
                </a:cubicBezTo>
                <a:lnTo>
                  <a:pt x="518088" y="537661"/>
                </a:lnTo>
                <a:close/>
                <a:moveTo>
                  <a:pt x="688078" y="656533"/>
                </a:moveTo>
                <a:cubicBezTo>
                  <a:pt x="694420" y="647745"/>
                  <a:pt x="697968" y="642799"/>
                  <a:pt x="698728" y="641697"/>
                </a:cubicBezTo>
                <a:cubicBezTo>
                  <a:pt x="699609" y="640401"/>
                  <a:pt x="699561" y="639395"/>
                  <a:pt x="698581" y="638686"/>
                </a:cubicBezTo>
                <a:lnTo>
                  <a:pt x="643680" y="599209"/>
                </a:lnTo>
                <a:cubicBezTo>
                  <a:pt x="640210" y="596704"/>
                  <a:pt x="639358" y="591956"/>
                  <a:pt x="641778" y="588599"/>
                </a:cubicBezTo>
                <a:cubicBezTo>
                  <a:pt x="641789" y="588585"/>
                  <a:pt x="641796" y="588574"/>
                  <a:pt x="641807" y="588559"/>
                </a:cubicBezTo>
                <a:lnTo>
                  <a:pt x="664686" y="557161"/>
                </a:lnTo>
                <a:cubicBezTo>
                  <a:pt x="665666" y="555791"/>
                  <a:pt x="665299" y="555068"/>
                  <a:pt x="663584" y="554994"/>
                </a:cubicBezTo>
                <a:cubicBezTo>
                  <a:pt x="660793" y="554847"/>
                  <a:pt x="621709" y="554307"/>
                  <a:pt x="546328" y="553378"/>
                </a:cubicBezTo>
                <a:cubicBezTo>
                  <a:pt x="546060" y="553378"/>
                  <a:pt x="545861" y="553478"/>
                  <a:pt x="545740" y="553672"/>
                </a:cubicBezTo>
                <a:cubicBezTo>
                  <a:pt x="545593" y="553845"/>
                  <a:pt x="545556" y="554050"/>
                  <a:pt x="545630" y="554296"/>
                </a:cubicBezTo>
                <a:cubicBezTo>
                  <a:pt x="570186" y="625587"/>
                  <a:pt x="582977" y="662530"/>
                  <a:pt x="584005" y="665126"/>
                </a:cubicBezTo>
                <a:cubicBezTo>
                  <a:pt x="584619" y="666742"/>
                  <a:pt x="585412" y="666863"/>
                  <a:pt x="586392" y="665494"/>
                </a:cubicBezTo>
                <a:lnTo>
                  <a:pt x="609014" y="633912"/>
                </a:lnTo>
                <a:cubicBezTo>
                  <a:pt x="611419" y="630544"/>
                  <a:pt x="616189" y="629836"/>
                  <a:pt x="619671" y="632322"/>
                </a:cubicBezTo>
                <a:cubicBezTo>
                  <a:pt x="619693" y="632336"/>
                  <a:pt x="619715" y="632355"/>
                  <a:pt x="619737" y="632369"/>
                </a:cubicBezTo>
                <a:lnTo>
                  <a:pt x="674454" y="672104"/>
                </a:lnTo>
                <a:cubicBezTo>
                  <a:pt x="675435" y="672790"/>
                  <a:pt x="676400" y="672508"/>
                  <a:pt x="677355" y="671259"/>
                </a:cubicBezTo>
                <a:cubicBezTo>
                  <a:pt x="678163" y="670205"/>
                  <a:pt x="681736" y="665299"/>
                  <a:pt x="688078" y="656533"/>
                </a:cubicBezTo>
                <a:close/>
                <a:moveTo>
                  <a:pt x="227205" y="692191"/>
                </a:moveTo>
                <a:cubicBezTo>
                  <a:pt x="227646" y="692459"/>
                  <a:pt x="228025" y="692459"/>
                  <a:pt x="228343" y="692191"/>
                </a:cubicBezTo>
                <a:cubicBezTo>
                  <a:pt x="228001" y="691798"/>
                  <a:pt x="227646" y="691651"/>
                  <a:pt x="227278" y="691751"/>
                </a:cubicBezTo>
                <a:cubicBezTo>
                  <a:pt x="227152" y="691754"/>
                  <a:pt x="227067" y="691868"/>
                  <a:pt x="227090" y="692004"/>
                </a:cubicBezTo>
                <a:cubicBezTo>
                  <a:pt x="227102" y="692077"/>
                  <a:pt x="227144" y="692147"/>
                  <a:pt x="227205" y="692191"/>
                </a:cubicBezTo>
                <a:close/>
                <a:moveTo>
                  <a:pt x="238589" y="695790"/>
                </a:moveTo>
                <a:cubicBezTo>
                  <a:pt x="238271" y="695397"/>
                  <a:pt x="237904" y="695228"/>
                  <a:pt x="237487" y="695276"/>
                </a:cubicBezTo>
                <a:cubicBezTo>
                  <a:pt x="236802" y="695375"/>
                  <a:pt x="236716" y="695654"/>
                  <a:pt x="237230" y="696121"/>
                </a:cubicBezTo>
                <a:cubicBezTo>
                  <a:pt x="239018" y="697711"/>
                  <a:pt x="239985" y="698482"/>
                  <a:pt x="240131" y="698434"/>
                </a:cubicBezTo>
                <a:cubicBezTo>
                  <a:pt x="240380" y="698390"/>
                  <a:pt x="239818" y="697369"/>
                  <a:pt x="238877" y="696154"/>
                </a:cubicBezTo>
                <a:cubicBezTo>
                  <a:pt x="238783" y="696032"/>
                  <a:pt x="238686" y="695911"/>
                  <a:pt x="238589" y="69579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fr-FR" dirty="0"/>
          </a:p>
        </p:txBody>
      </p:sp>
      <p:pic>
        <p:nvPicPr>
          <p:cNvPr id="36" name="Graphic 35" descr="Stamp outline">
            <a:extLst>
              <a:ext uri="{FF2B5EF4-FFF2-40B4-BE49-F238E27FC236}">
                <a16:creationId xmlns:a16="http://schemas.microsoft.com/office/drawing/2014/main" id="{11A64A6E-4E5B-5889-625D-3DBB4302F2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14882" y="2182104"/>
            <a:ext cx="1781907" cy="1781907"/>
          </a:xfrm>
          <a:prstGeom prst="rect">
            <a:avLst/>
          </a:prstGeom>
        </p:spPr>
      </p:pic>
      <p:pic>
        <p:nvPicPr>
          <p:cNvPr id="38" name="Graphic 37" descr="Phone Vibration outline">
            <a:extLst>
              <a:ext uri="{FF2B5EF4-FFF2-40B4-BE49-F238E27FC236}">
                <a16:creationId xmlns:a16="http://schemas.microsoft.com/office/drawing/2014/main" id="{F80D1C95-8D96-25CF-8979-456340AE3A2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158070" y="3000891"/>
            <a:ext cx="516155" cy="51615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D9D46B81-BEAC-60AE-E505-CA0CD694064E}"/>
              </a:ext>
            </a:extLst>
          </p:cNvPr>
          <p:cNvSpPr txBox="1"/>
          <p:nvPr/>
        </p:nvSpPr>
        <p:spPr>
          <a:xfrm>
            <a:off x="9130623" y="3893178"/>
            <a:ext cx="2150425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latin typeface="+mj-lt"/>
              </a:rPr>
              <a:t>… post a reply or phon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</a:rPr>
              <a:t>p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ost a reply to the sender or phone the sender</a:t>
            </a:r>
          </a:p>
          <a:p>
            <a:pPr algn="ctr"/>
            <a:endParaRPr lang="en-GB" b="1" dirty="0"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6BF77D0-96A3-AE68-B2F2-9B5698343143}"/>
              </a:ext>
            </a:extLst>
          </p:cNvPr>
          <p:cNvSpPr txBox="1"/>
          <p:nvPr/>
        </p:nvSpPr>
        <p:spPr>
          <a:xfrm>
            <a:off x="9700741" y="2505410"/>
            <a:ext cx="7649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6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grpSp>
        <p:nvGrpSpPr>
          <p:cNvPr id="9" name="Piggy_bank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2E4C86-DF24-5485-E60F-A8342E03F33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042956" y="2950598"/>
            <a:ext cx="985686" cy="777570"/>
            <a:chOff x="19" y="38"/>
            <a:chExt cx="431" cy="340"/>
          </a:xfrm>
          <a:solidFill>
            <a:schemeClr val="accent1"/>
          </a:solidFill>
        </p:grpSpPr>
        <p:sp>
          <p:nvSpPr>
            <p:cNvPr id="14" name="Piggy_Bank">
              <a:extLst>
                <a:ext uri="{FF2B5EF4-FFF2-40B4-BE49-F238E27FC236}">
                  <a16:creationId xmlns:a16="http://schemas.microsoft.com/office/drawing/2014/main" id="{2740AB23-0C6F-0886-89A8-4C2F2B786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" y="80"/>
              <a:ext cx="104" cy="13"/>
            </a:xfrm>
            <a:custGeom>
              <a:avLst/>
              <a:gdLst>
                <a:gd name="T0" fmla="*/ 111 w 227"/>
                <a:gd name="T1" fmla="*/ 1 h 27"/>
                <a:gd name="T2" fmla="*/ 0 w 227"/>
                <a:gd name="T3" fmla="*/ 10 h 27"/>
                <a:gd name="T4" fmla="*/ 2 w 227"/>
                <a:gd name="T5" fmla="*/ 20 h 27"/>
                <a:gd name="T6" fmla="*/ 225 w 227"/>
                <a:gd name="T7" fmla="*/ 27 h 27"/>
                <a:gd name="T8" fmla="*/ 227 w 227"/>
                <a:gd name="T9" fmla="*/ 17 h 27"/>
                <a:gd name="T10" fmla="*/ 111 w 227"/>
                <a:gd name="T11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7" h="27">
                  <a:moveTo>
                    <a:pt x="111" y="1"/>
                  </a:moveTo>
                  <a:cubicBezTo>
                    <a:pt x="73" y="0"/>
                    <a:pt x="36" y="2"/>
                    <a:pt x="0" y="10"/>
                  </a:cubicBezTo>
                  <a:lnTo>
                    <a:pt x="2" y="20"/>
                  </a:lnTo>
                  <a:cubicBezTo>
                    <a:pt x="72" y="4"/>
                    <a:pt x="147" y="10"/>
                    <a:pt x="225" y="27"/>
                  </a:cubicBezTo>
                  <a:lnTo>
                    <a:pt x="227" y="17"/>
                  </a:lnTo>
                  <a:cubicBezTo>
                    <a:pt x="188" y="9"/>
                    <a:pt x="149" y="3"/>
                    <a:pt x="111" y="1"/>
                  </a:cubicBez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Piggy_Bank">
              <a:extLst>
                <a:ext uri="{FF2B5EF4-FFF2-40B4-BE49-F238E27FC236}">
                  <a16:creationId xmlns:a16="http://schemas.microsoft.com/office/drawing/2014/main" id="{8923B877-238D-65D2-7004-11C00F9337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" y="38"/>
              <a:ext cx="69" cy="48"/>
            </a:xfrm>
            <a:custGeom>
              <a:avLst/>
              <a:gdLst>
                <a:gd name="T0" fmla="*/ 0 w 150"/>
                <a:gd name="T1" fmla="*/ 66 h 104"/>
                <a:gd name="T2" fmla="*/ 17 w 150"/>
                <a:gd name="T3" fmla="*/ 98 h 104"/>
                <a:gd name="T4" fmla="*/ 26 w 150"/>
                <a:gd name="T5" fmla="*/ 98 h 104"/>
                <a:gd name="T6" fmla="*/ 33 w 150"/>
                <a:gd name="T7" fmla="*/ 94 h 104"/>
                <a:gd name="T8" fmla="*/ 30 w 150"/>
                <a:gd name="T9" fmla="*/ 85 h 104"/>
                <a:gd name="T10" fmla="*/ 27 w 150"/>
                <a:gd name="T11" fmla="*/ 62 h 104"/>
                <a:gd name="T12" fmla="*/ 29 w 150"/>
                <a:gd name="T13" fmla="*/ 50 h 104"/>
                <a:gd name="T14" fmla="*/ 39 w 150"/>
                <a:gd name="T15" fmla="*/ 27 h 104"/>
                <a:gd name="T16" fmla="*/ 45 w 150"/>
                <a:gd name="T17" fmla="*/ 21 h 104"/>
                <a:gd name="T18" fmla="*/ 55 w 150"/>
                <a:gd name="T19" fmla="*/ 14 h 104"/>
                <a:gd name="T20" fmla="*/ 63 w 150"/>
                <a:gd name="T21" fmla="*/ 10 h 104"/>
                <a:gd name="T22" fmla="*/ 74 w 150"/>
                <a:gd name="T23" fmla="*/ 8 h 104"/>
                <a:gd name="T24" fmla="*/ 140 w 150"/>
                <a:gd name="T25" fmla="*/ 72 h 104"/>
                <a:gd name="T26" fmla="*/ 149 w 150"/>
                <a:gd name="T27" fmla="*/ 72 h 104"/>
                <a:gd name="T28" fmla="*/ 63 w 150"/>
                <a:gd name="T29" fmla="*/ 0 h 104"/>
                <a:gd name="T30" fmla="*/ 61 w 150"/>
                <a:gd name="T31" fmla="*/ 5 h 104"/>
                <a:gd name="T32" fmla="*/ 46 w 150"/>
                <a:gd name="T33" fmla="*/ 7 h 104"/>
                <a:gd name="T34" fmla="*/ 42 w 150"/>
                <a:gd name="T35" fmla="*/ 9 h 104"/>
                <a:gd name="T36" fmla="*/ 44 w 150"/>
                <a:gd name="T37" fmla="*/ 12 h 104"/>
                <a:gd name="T38" fmla="*/ 37 w 150"/>
                <a:gd name="T39" fmla="*/ 12 h 104"/>
                <a:gd name="T40" fmla="*/ 36 w 150"/>
                <a:gd name="T41" fmla="*/ 19 h 104"/>
                <a:gd name="T42" fmla="*/ 26 w 150"/>
                <a:gd name="T43" fmla="*/ 21 h 104"/>
                <a:gd name="T44" fmla="*/ 31 w 150"/>
                <a:gd name="T45" fmla="*/ 25 h 104"/>
                <a:gd name="T46" fmla="*/ 24 w 150"/>
                <a:gd name="T47" fmla="*/ 24 h 104"/>
                <a:gd name="T48" fmla="*/ 26 w 150"/>
                <a:gd name="T49" fmla="*/ 33 h 104"/>
                <a:gd name="T50" fmla="*/ 19 w 150"/>
                <a:gd name="T51" fmla="*/ 31 h 104"/>
                <a:gd name="T52" fmla="*/ 23 w 150"/>
                <a:gd name="T53" fmla="*/ 40 h 104"/>
                <a:gd name="T54" fmla="*/ 13 w 150"/>
                <a:gd name="T55" fmla="*/ 43 h 104"/>
                <a:gd name="T56" fmla="*/ 20 w 150"/>
                <a:gd name="T57" fmla="*/ 47 h 104"/>
                <a:gd name="T58" fmla="*/ 11 w 150"/>
                <a:gd name="T59" fmla="*/ 50 h 104"/>
                <a:gd name="T60" fmla="*/ 19 w 150"/>
                <a:gd name="T61" fmla="*/ 54 h 104"/>
                <a:gd name="T62" fmla="*/ 10 w 150"/>
                <a:gd name="T63" fmla="*/ 57 h 104"/>
                <a:gd name="T64" fmla="*/ 18 w 150"/>
                <a:gd name="T65" fmla="*/ 61 h 104"/>
                <a:gd name="T66" fmla="*/ 9 w 150"/>
                <a:gd name="T67" fmla="*/ 63 h 104"/>
                <a:gd name="T68" fmla="*/ 9 w 150"/>
                <a:gd name="T69" fmla="*/ 67 h 104"/>
                <a:gd name="T70" fmla="*/ 18 w 150"/>
                <a:gd name="T71" fmla="*/ 70 h 104"/>
                <a:gd name="T72" fmla="*/ 9 w 150"/>
                <a:gd name="T73" fmla="*/ 69 h 104"/>
                <a:gd name="T74" fmla="*/ 20 w 150"/>
                <a:gd name="T75" fmla="*/ 80 h 104"/>
                <a:gd name="T76" fmla="*/ 11 w 150"/>
                <a:gd name="T77" fmla="*/ 83 h 104"/>
                <a:gd name="T78" fmla="*/ 21 w 150"/>
                <a:gd name="T79" fmla="*/ 86 h 104"/>
                <a:gd name="T80" fmla="*/ 13 w 150"/>
                <a:gd name="T81" fmla="*/ 88 h 104"/>
                <a:gd name="T82" fmla="*/ 23 w 150"/>
                <a:gd name="T83" fmla="*/ 9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0" h="104">
                  <a:moveTo>
                    <a:pt x="63" y="0"/>
                  </a:moveTo>
                  <a:cubicBezTo>
                    <a:pt x="44" y="0"/>
                    <a:pt x="28" y="7"/>
                    <a:pt x="17" y="19"/>
                  </a:cubicBezTo>
                  <a:cubicBezTo>
                    <a:pt x="6" y="31"/>
                    <a:pt x="0" y="48"/>
                    <a:pt x="0" y="66"/>
                  </a:cubicBezTo>
                  <a:cubicBezTo>
                    <a:pt x="1" y="78"/>
                    <a:pt x="4" y="90"/>
                    <a:pt x="10" y="100"/>
                  </a:cubicBezTo>
                  <a:cubicBezTo>
                    <a:pt x="15" y="99"/>
                    <a:pt x="21" y="98"/>
                    <a:pt x="26" y="98"/>
                  </a:cubicBezTo>
                  <a:lnTo>
                    <a:pt x="17" y="98"/>
                  </a:lnTo>
                  <a:cubicBezTo>
                    <a:pt x="17" y="97"/>
                    <a:pt x="16" y="96"/>
                    <a:pt x="16" y="94"/>
                  </a:cubicBezTo>
                  <a:lnTo>
                    <a:pt x="25" y="95"/>
                  </a:lnTo>
                  <a:cubicBezTo>
                    <a:pt x="25" y="96"/>
                    <a:pt x="26" y="97"/>
                    <a:pt x="26" y="98"/>
                  </a:cubicBezTo>
                  <a:cubicBezTo>
                    <a:pt x="29" y="98"/>
                    <a:pt x="32" y="98"/>
                    <a:pt x="35" y="98"/>
                  </a:cubicBezTo>
                  <a:cubicBezTo>
                    <a:pt x="35" y="97"/>
                    <a:pt x="35" y="96"/>
                    <a:pt x="34" y="96"/>
                  </a:cubicBezTo>
                  <a:cubicBezTo>
                    <a:pt x="34" y="95"/>
                    <a:pt x="34" y="95"/>
                    <a:pt x="33" y="94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2" y="92"/>
                    <a:pt x="32" y="91"/>
                    <a:pt x="32" y="90"/>
                  </a:cubicBezTo>
                  <a:cubicBezTo>
                    <a:pt x="31" y="88"/>
                    <a:pt x="30" y="87"/>
                    <a:pt x="30" y="85"/>
                  </a:cubicBezTo>
                  <a:cubicBezTo>
                    <a:pt x="29" y="83"/>
                    <a:pt x="29" y="81"/>
                    <a:pt x="29" y="79"/>
                  </a:cubicBezTo>
                  <a:cubicBezTo>
                    <a:pt x="28" y="75"/>
                    <a:pt x="27" y="71"/>
                    <a:pt x="27" y="67"/>
                  </a:cubicBezTo>
                  <a:cubicBezTo>
                    <a:pt x="27" y="65"/>
                    <a:pt x="27" y="64"/>
                    <a:pt x="27" y="62"/>
                  </a:cubicBezTo>
                  <a:cubicBezTo>
                    <a:pt x="27" y="62"/>
                    <a:pt x="27" y="61"/>
                    <a:pt x="27" y="61"/>
                  </a:cubicBezTo>
                  <a:cubicBezTo>
                    <a:pt x="27" y="59"/>
                    <a:pt x="28" y="57"/>
                    <a:pt x="28" y="56"/>
                  </a:cubicBezTo>
                  <a:cubicBezTo>
                    <a:pt x="28" y="54"/>
                    <a:pt x="28" y="52"/>
                    <a:pt x="29" y="50"/>
                  </a:cubicBezTo>
                  <a:cubicBezTo>
                    <a:pt x="29" y="49"/>
                    <a:pt x="30" y="47"/>
                    <a:pt x="30" y="46"/>
                  </a:cubicBezTo>
                  <a:cubicBezTo>
                    <a:pt x="30" y="45"/>
                    <a:pt x="31" y="44"/>
                    <a:pt x="31" y="43"/>
                  </a:cubicBezTo>
                  <a:cubicBezTo>
                    <a:pt x="33" y="37"/>
                    <a:pt x="35" y="32"/>
                    <a:pt x="39" y="27"/>
                  </a:cubicBezTo>
                  <a:cubicBezTo>
                    <a:pt x="41" y="26"/>
                    <a:pt x="42" y="25"/>
                    <a:pt x="43" y="24"/>
                  </a:cubicBezTo>
                  <a:cubicBezTo>
                    <a:pt x="43" y="23"/>
                    <a:pt x="43" y="23"/>
                    <a:pt x="44" y="23"/>
                  </a:cubicBezTo>
                  <a:cubicBezTo>
                    <a:pt x="44" y="22"/>
                    <a:pt x="45" y="22"/>
                    <a:pt x="45" y="21"/>
                  </a:cubicBezTo>
                  <a:cubicBezTo>
                    <a:pt x="46" y="20"/>
                    <a:pt x="47" y="20"/>
                    <a:pt x="47" y="19"/>
                  </a:cubicBezTo>
                  <a:cubicBezTo>
                    <a:pt x="49" y="18"/>
                    <a:pt x="50" y="17"/>
                    <a:pt x="51" y="16"/>
                  </a:cubicBezTo>
                  <a:cubicBezTo>
                    <a:pt x="52" y="15"/>
                    <a:pt x="54" y="15"/>
                    <a:pt x="55" y="14"/>
                  </a:cubicBezTo>
                  <a:cubicBezTo>
                    <a:pt x="56" y="13"/>
                    <a:pt x="58" y="12"/>
                    <a:pt x="59" y="12"/>
                  </a:cubicBezTo>
                  <a:cubicBezTo>
                    <a:pt x="60" y="12"/>
                    <a:pt x="60" y="11"/>
                    <a:pt x="60" y="11"/>
                  </a:cubicBezTo>
                  <a:cubicBezTo>
                    <a:pt x="61" y="11"/>
                    <a:pt x="62" y="11"/>
                    <a:pt x="63" y="10"/>
                  </a:cubicBezTo>
                  <a:cubicBezTo>
                    <a:pt x="63" y="10"/>
                    <a:pt x="64" y="10"/>
                    <a:pt x="64" y="10"/>
                  </a:cubicBezTo>
                  <a:cubicBezTo>
                    <a:pt x="66" y="9"/>
                    <a:pt x="67" y="9"/>
                    <a:pt x="69" y="9"/>
                  </a:cubicBezTo>
                  <a:cubicBezTo>
                    <a:pt x="70" y="8"/>
                    <a:pt x="72" y="8"/>
                    <a:pt x="74" y="8"/>
                  </a:cubicBezTo>
                  <a:cubicBezTo>
                    <a:pt x="76" y="7"/>
                    <a:pt x="79" y="7"/>
                    <a:pt x="82" y="7"/>
                  </a:cubicBezTo>
                  <a:cubicBezTo>
                    <a:pt x="97" y="8"/>
                    <a:pt x="111" y="15"/>
                    <a:pt x="122" y="27"/>
                  </a:cubicBezTo>
                  <a:cubicBezTo>
                    <a:pt x="133" y="38"/>
                    <a:pt x="140" y="54"/>
                    <a:pt x="140" y="72"/>
                  </a:cubicBezTo>
                  <a:cubicBezTo>
                    <a:pt x="141" y="83"/>
                    <a:pt x="138" y="93"/>
                    <a:pt x="134" y="102"/>
                  </a:cubicBezTo>
                  <a:cubicBezTo>
                    <a:pt x="137" y="103"/>
                    <a:pt x="140" y="103"/>
                    <a:pt x="143" y="104"/>
                  </a:cubicBezTo>
                  <a:cubicBezTo>
                    <a:pt x="147" y="95"/>
                    <a:pt x="150" y="84"/>
                    <a:pt x="149" y="72"/>
                  </a:cubicBezTo>
                  <a:cubicBezTo>
                    <a:pt x="149" y="54"/>
                    <a:pt x="141" y="36"/>
                    <a:pt x="129" y="24"/>
                  </a:cubicBezTo>
                  <a:cubicBezTo>
                    <a:pt x="117" y="11"/>
                    <a:pt x="100" y="2"/>
                    <a:pt x="81" y="1"/>
                  </a:cubicBezTo>
                  <a:cubicBezTo>
                    <a:pt x="74" y="1"/>
                    <a:pt x="70" y="1"/>
                    <a:pt x="63" y="0"/>
                  </a:cubicBezTo>
                  <a:close/>
                  <a:moveTo>
                    <a:pt x="60" y="3"/>
                  </a:moveTo>
                  <a:cubicBezTo>
                    <a:pt x="61" y="2"/>
                    <a:pt x="71" y="3"/>
                    <a:pt x="75" y="3"/>
                  </a:cubicBezTo>
                  <a:cubicBezTo>
                    <a:pt x="73" y="3"/>
                    <a:pt x="69" y="3"/>
                    <a:pt x="61" y="5"/>
                  </a:cubicBezTo>
                  <a:lnTo>
                    <a:pt x="53" y="5"/>
                  </a:lnTo>
                  <a:cubicBezTo>
                    <a:pt x="55" y="4"/>
                    <a:pt x="57" y="3"/>
                    <a:pt x="60" y="3"/>
                  </a:cubicBezTo>
                  <a:close/>
                  <a:moveTo>
                    <a:pt x="46" y="7"/>
                  </a:moveTo>
                  <a:lnTo>
                    <a:pt x="54" y="8"/>
                  </a:lnTo>
                  <a:cubicBezTo>
                    <a:pt x="53" y="8"/>
                    <a:pt x="52" y="9"/>
                    <a:pt x="50" y="9"/>
                  </a:cubicBezTo>
                  <a:lnTo>
                    <a:pt x="42" y="9"/>
                  </a:lnTo>
                  <a:cubicBezTo>
                    <a:pt x="43" y="8"/>
                    <a:pt x="44" y="8"/>
                    <a:pt x="46" y="7"/>
                  </a:cubicBezTo>
                  <a:close/>
                  <a:moveTo>
                    <a:pt x="37" y="12"/>
                  </a:moveTo>
                  <a:lnTo>
                    <a:pt x="44" y="12"/>
                  </a:lnTo>
                  <a:cubicBezTo>
                    <a:pt x="43" y="13"/>
                    <a:pt x="41" y="14"/>
                    <a:pt x="40" y="15"/>
                  </a:cubicBezTo>
                  <a:lnTo>
                    <a:pt x="33" y="15"/>
                  </a:lnTo>
                  <a:cubicBezTo>
                    <a:pt x="34" y="14"/>
                    <a:pt x="35" y="13"/>
                    <a:pt x="37" y="12"/>
                  </a:cubicBezTo>
                  <a:close/>
                  <a:moveTo>
                    <a:pt x="30" y="18"/>
                  </a:moveTo>
                  <a:lnTo>
                    <a:pt x="37" y="18"/>
                  </a:lnTo>
                  <a:cubicBezTo>
                    <a:pt x="37" y="18"/>
                    <a:pt x="36" y="19"/>
                    <a:pt x="36" y="19"/>
                  </a:cubicBezTo>
                  <a:cubicBezTo>
                    <a:pt x="36" y="19"/>
                    <a:pt x="35" y="20"/>
                    <a:pt x="35" y="20"/>
                  </a:cubicBezTo>
                  <a:cubicBezTo>
                    <a:pt x="35" y="21"/>
                    <a:pt x="34" y="21"/>
                    <a:pt x="34" y="22"/>
                  </a:cubicBezTo>
                  <a:lnTo>
                    <a:pt x="26" y="21"/>
                  </a:lnTo>
                  <a:cubicBezTo>
                    <a:pt x="27" y="20"/>
                    <a:pt x="29" y="19"/>
                    <a:pt x="30" y="18"/>
                  </a:cubicBezTo>
                  <a:close/>
                  <a:moveTo>
                    <a:pt x="24" y="24"/>
                  </a:moveTo>
                  <a:lnTo>
                    <a:pt x="31" y="25"/>
                  </a:lnTo>
                  <a:cubicBezTo>
                    <a:pt x="30" y="26"/>
                    <a:pt x="30" y="27"/>
                    <a:pt x="29" y="28"/>
                  </a:cubicBezTo>
                  <a:lnTo>
                    <a:pt x="21" y="28"/>
                  </a:lnTo>
                  <a:cubicBezTo>
                    <a:pt x="22" y="26"/>
                    <a:pt x="23" y="26"/>
                    <a:pt x="24" y="24"/>
                  </a:cubicBezTo>
                  <a:close/>
                  <a:moveTo>
                    <a:pt x="19" y="31"/>
                  </a:moveTo>
                  <a:lnTo>
                    <a:pt x="27" y="31"/>
                  </a:lnTo>
                  <a:cubicBezTo>
                    <a:pt x="27" y="32"/>
                    <a:pt x="26" y="32"/>
                    <a:pt x="26" y="33"/>
                  </a:cubicBezTo>
                  <a:cubicBezTo>
                    <a:pt x="26" y="34"/>
                    <a:pt x="25" y="34"/>
                    <a:pt x="25" y="35"/>
                  </a:cubicBezTo>
                  <a:lnTo>
                    <a:pt x="16" y="35"/>
                  </a:lnTo>
                  <a:cubicBezTo>
                    <a:pt x="17" y="33"/>
                    <a:pt x="18" y="32"/>
                    <a:pt x="19" y="31"/>
                  </a:cubicBezTo>
                  <a:close/>
                  <a:moveTo>
                    <a:pt x="15" y="37"/>
                  </a:moveTo>
                  <a:lnTo>
                    <a:pt x="24" y="38"/>
                  </a:lnTo>
                  <a:cubicBezTo>
                    <a:pt x="23" y="39"/>
                    <a:pt x="23" y="39"/>
                    <a:pt x="23" y="40"/>
                  </a:cubicBezTo>
                  <a:lnTo>
                    <a:pt x="14" y="40"/>
                  </a:lnTo>
                  <a:cubicBezTo>
                    <a:pt x="14" y="39"/>
                    <a:pt x="14" y="38"/>
                    <a:pt x="15" y="37"/>
                  </a:cubicBezTo>
                  <a:close/>
                  <a:moveTo>
                    <a:pt x="13" y="43"/>
                  </a:moveTo>
                  <a:lnTo>
                    <a:pt x="21" y="44"/>
                  </a:lnTo>
                  <a:cubicBezTo>
                    <a:pt x="21" y="44"/>
                    <a:pt x="21" y="45"/>
                    <a:pt x="21" y="45"/>
                  </a:cubicBezTo>
                  <a:cubicBezTo>
                    <a:pt x="21" y="46"/>
                    <a:pt x="20" y="47"/>
                    <a:pt x="20" y="47"/>
                  </a:cubicBezTo>
                  <a:lnTo>
                    <a:pt x="11" y="47"/>
                  </a:lnTo>
                  <a:cubicBezTo>
                    <a:pt x="12" y="46"/>
                    <a:pt x="12" y="44"/>
                    <a:pt x="13" y="43"/>
                  </a:cubicBezTo>
                  <a:close/>
                  <a:moveTo>
                    <a:pt x="11" y="50"/>
                  </a:moveTo>
                  <a:lnTo>
                    <a:pt x="20" y="50"/>
                  </a:lnTo>
                  <a:cubicBezTo>
                    <a:pt x="20" y="51"/>
                    <a:pt x="19" y="52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lnTo>
                    <a:pt x="10" y="54"/>
                  </a:lnTo>
                  <a:cubicBezTo>
                    <a:pt x="10" y="52"/>
                    <a:pt x="10" y="51"/>
                    <a:pt x="11" y="50"/>
                  </a:cubicBezTo>
                  <a:close/>
                  <a:moveTo>
                    <a:pt x="10" y="57"/>
                  </a:moveTo>
                  <a:lnTo>
                    <a:pt x="19" y="57"/>
                  </a:lnTo>
                  <a:cubicBezTo>
                    <a:pt x="18" y="58"/>
                    <a:pt x="18" y="59"/>
                    <a:pt x="18" y="60"/>
                  </a:cubicBezTo>
                  <a:cubicBezTo>
                    <a:pt x="18" y="60"/>
                    <a:pt x="18" y="61"/>
                    <a:pt x="18" y="61"/>
                  </a:cubicBezTo>
                  <a:lnTo>
                    <a:pt x="9" y="60"/>
                  </a:lnTo>
                  <a:cubicBezTo>
                    <a:pt x="9" y="59"/>
                    <a:pt x="9" y="58"/>
                    <a:pt x="10" y="57"/>
                  </a:cubicBezTo>
                  <a:close/>
                  <a:moveTo>
                    <a:pt x="9" y="63"/>
                  </a:moveTo>
                  <a:lnTo>
                    <a:pt x="18" y="64"/>
                  </a:lnTo>
                  <a:cubicBezTo>
                    <a:pt x="18" y="65"/>
                    <a:pt x="18" y="66"/>
                    <a:pt x="18" y="67"/>
                  </a:cubicBezTo>
                  <a:lnTo>
                    <a:pt x="9" y="67"/>
                  </a:lnTo>
                  <a:cubicBezTo>
                    <a:pt x="9" y="66"/>
                    <a:pt x="9" y="64"/>
                    <a:pt x="9" y="63"/>
                  </a:cubicBezTo>
                  <a:close/>
                  <a:moveTo>
                    <a:pt x="9" y="69"/>
                  </a:moveTo>
                  <a:lnTo>
                    <a:pt x="18" y="70"/>
                  </a:lnTo>
                  <a:cubicBezTo>
                    <a:pt x="18" y="71"/>
                    <a:pt x="19" y="73"/>
                    <a:pt x="19" y="74"/>
                  </a:cubicBezTo>
                  <a:lnTo>
                    <a:pt x="10" y="74"/>
                  </a:lnTo>
                  <a:cubicBezTo>
                    <a:pt x="9" y="72"/>
                    <a:pt x="9" y="71"/>
                    <a:pt x="9" y="69"/>
                  </a:cubicBezTo>
                  <a:close/>
                  <a:moveTo>
                    <a:pt x="10" y="77"/>
                  </a:moveTo>
                  <a:lnTo>
                    <a:pt x="19" y="77"/>
                  </a:lnTo>
                  <a:cubicBezTo>
                    <a:pt x="19" y="78"/>
                    <a:pt x="20" y="79"/>
                    <a:pt x="20" y="80"/>
                  </a:cubicBezTo>
                  <a:lnTo>
                    <a:pt x="10" y="79"/>
                  </a:lnTo>
                  <a:cubicBezTo>
                    <a:pt x="10" y="79"/>
                    <a:pt x="10" y="78"/>
                    <a:pt x="10" y="77"/>
                  </a:cubicBezTo>
                  <a:close/>
                  <a:moveTo>
                    <a:pt x="11" y="83"/>
                  </a:moveTo>
                  <a:lnTo>
                    <a:pt x="20" y="83"/>
                  </a:lnTo>
                  <a:cubicBezTo>
                    <a:pt x="21" y="84"/>
                    <a:pt x="21" y="85"/>
                    <a:pt x="21" y="85"/>
                  </a:cubicBezTo>
                  <a:cubicBezTo>
                    <a:pt x="21" y="85"/>
                    <a:pt x="21" y="86"/>
                    <a:pt x="21" y="86"/>
                  </a:cubicBezTo>
                  <a:lnTo>
                    <a:pt x="12" y="85"/>
                  </a:lnTo>
                  <a:cubicBezTo>
                    <a:pt x="12" y="85"/>
                    <a:pt x="12" y="84"/>
                    <a:pt x="11" y="83"/>
                  </a:cubicBezTo>
                  <a:close/>
                  <a:moveTo>
                    <a:pt x="13" y="88"/>
                  </a:moveTo>
                  <a:lnTo>
                    <a:pt x="22" y="89"/>
                  </a:lnTo>
                  <a:cubicBezTo>
                    <a:pt x="22" y="89"/>
                    <a:pt x="22" y="90"/>
                    <a:pt x="23" y="90"/>
                  </a:cubicBezTo>
                  <a:cubicBezTo>
                    <a:pt x="23" y="91"/>
                    <a:pt x="23" y="91"/>
                    <a:pt x="23" y="92"/>
                  </a:cubicBezTo>
                  <a:lnTo>
                    <a:pt x="14" y="91"/>
                  </a:lnTo>
                  <a:cubicBezTo>
                    <a:pt x="14" y="90"/>
                    <a:pt x="14" y="89"/>
                    <a:pt x="13" y="88"/>
                  </a:cubicBez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Piggy_Bank">
              <a:extLst>
                <a:ext uri="{FF2B5EF4-FFF2-40B4-BE49-F238E27FC236}">
                  <a16:creationId xmlns:a16="http://schemas.microsoft.com/office/drawing/2014/main" id="{3736022A-4BF8-5E5C-21DD-D25DE3530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" y="53"/>
              <a:ext cx="431" cy="325"/>
            </a:xfrm>
            <a:custGeom>
              <a:avLst/>
              <a:gdLst>
                <a:gd name="T0" fmla="*/ 145 w 935"/>
                <a:gd name="T1" fmla="*/ 33 h 704"/>
                <a:gd name="T2" fmla="*/ 194 w 935"/>
                <a:gd name="T3" fmla="*/ 114 h 704"/>
                <a:gd name="T4" fmla="*/ 123 w 935"/>
                <a:gd name="T5" fmla="*/ 228 h 704"/>
                <a:gd name="T6" fmla="*/ 71 w 935"/>
                <a:gd name="T7" fmla="*/ 249 h 704"/>
                <a:gd name="T8" fmla="*/ 10 w 935"/>
                <a:gd name="T9" fmla="*/ 258 h 704"/>
                <a:gd name="T10" fmla="*/ 0 w 935"/>
                <a:gd name="T11" fmla="*/ 343 h 704"/>
                <a:gd name="T12" fmla="*/ 12 w 935"/>
                <a:gd name="T13" fmla="*/ 428 h 704"/>
                <a:gd name="T14" fmla="*/ 221 w 935"/>
                <a:gd name="T15" fmla="*/ 555 h 704"/>
                <a:gd name="T16" fmla="*/ 222 w 935"/>
                <a:gd name="T17" fmla="*/ 584 h 704"/>
                <a:gd name="T18" fmla="*/ 222 w 935"/>
                <a:gd name="T19" fmla="*/ 687 h 704"/>
                <a:gd name="T20" fmla="*/ 292 w 935"/>
                <a:gd name="T21" fmla="*/ 702 h 704"/>
                <a:gd name="T22" fmla="*/ 385 w 935"/>
                <a:gd name="T23" fmla="*/ 676 h 704"/>
                <a:gd name="T24" fmla="*/ 422 w 935"/>
                <a:gd name="T25" fmla="*/ 596 h 704"/>
                <a:gd name="T26" fmla="*/ 640 w 935"/>
                <a:gd name="T27" fmla="*/ 640 h 704"/>
                <a:gd name="T28" fmla="*/ 754 w 935"/>
                <a:gd name="T29" fmla="*/ 701 h 704"/>
                <a:gd name="T30" fmla="*/ 818 w 935"/>
                <a:gd name="T31" fmla="*/ 639 h 704"/>
                <a:gd name="T32" fmla="*/ 814 w 935"/>
                <a:gd name="T33" fmla="*/ 559 h 704"/>
                <a:gd name="T34" fmla="*/ 900 w 935"/>
                <a:gd name="T35" fmla="*/ 317 h 704"/>
                <a:gd name="T36" fmla="*/ 929 w 935"/>
                <a:gd name="T37" fmla="*/ 97 h 704"/>
                <a:gd name="T38" fmla="*/ 890 w 935"/>
                <a:gd name="T39" fmla="*/ 87 h 704"/>
                <a:gd name="T40" fmla="*/ 879 w 935"/>
                <a:gd name="T41" fmla="*/ 124 h 704"/>
                <a:gd name="T42" fmla="*/ 720 w 935"/>
                <a:gd name="T43" fmla="*/ 79 h 704"/>
                <a:gd name="T44" fmla="*/ 716 w 935"/>
                <a:gd name="T45" fmla="*/ 88 h 704"/>
                <a:gd name="T46" fmla="*/ 846 w 935"/>
                <a:gd name="T47" fmla="*/ 165 h 704"/>
                <a:gd name="T48" fmla="*/ 899 w 935"/>
                <a:gd name="T49" fmla="*/ 91 h 704"/>
                <a:gd name="T50" fmla="*/ 919 w 935"/>
                <a:gd name="T51" fmla="*/ 99 h 704"/>
                <a:gd name="T52" fmla="*/ 860 w 935"/>
                <a:gd name="T53" fmla="*/ 480 h 704"/>
                <a:gd name="T54" fmla="*/ 803 w 935"/>
                <a:gd name="T55" fmla="*/ 593 h 704"/>
                <a:gd name="T56" fmla="*/ 791 w 935"/>
                <a:gd name="T57" fmla="*/ 678 h 704"/>
                <a:gd name="T58" fmla="*/ 665 w 935"/>
                <a:gd name="T59" fmla="*/ 670 h 704"/>
                <a:gd name="T60" fmla="*/ 434 w 935"/>
                <a:gd name="T61" fmla="*/ 574 h 704"/>
                <a:gd name="T62" fmla="*/ 388 w 935"/>
                <a:gd name="T63" fmla="*/ 651 h 704"/>
                <a:gd name="T64" fmla="*/ 229 w 935"/>
                <a:gd name="T65" fmla="*/ 680 h 704"/>
                <a:gd name="T66" fmla="*/ 232 w 935"/>
                <a:gd name="T67" fmla="*/ 585 h 704"/>
                <a:gd name="T68" fmla="*/ 230 w 935"/>
                <a:gd name="T69" fmla="*/ 553 h 704"/>
                <a:gd name="T70" fmla="*/ 141 w 935"/>
                <a:gd name="T71" fmla="*/ 448 h 704"/>
                <a:gd name="T72" fmla="*/ 18 w 935"/>
                <a:gd name="T73" fmla="*/ 418 h 704"/>
                <a:gd name="T74" fmla="*/ 13 w 935"/>
                <a:gd name="T75" fmla="*/ 286 h 704"/>
                <a:gd name="T76" fmla="*/ 73 w 935"/>
                <a:gd name="T77" fmla="*/ 259 h 704"/>
                <a:gd name="T78" fmla="*/ 132 w 935"/>
                <a:gd name="T79" fmla="*/ 232 h 704"/>
                <a:gd name="T80" fmla="*/ 201 w 935"/>
                <a:gd name="T81" fmla="*/ 121 h 704"/>
                <a:gd name="T82" fmla="*/ 197 w 935"/>
                <a:gd name="T83" fmla="*/ 81 h 704"/>
                <a:gd name="T84" fmla="*/ 158 w 935"/>
                <a:gd name="T85" fmla="*/ 12 h 704"/>
                <a:gd name="T86" fmla="*/ 324 w 935"/>
                <a:gd name="T87" fmla="*/ 62 h 704"/>
                <a:gd name="T88" fmla="*/ 453 w 935"/>
                <a:gd name="T89" fmla="*/ 37 h 704"/>
                <a:gd name="T90" fmla="*/ 302 w 935"/>
                <a:gd name="T91" fmla="*/ 48 h 704"/>
                <a:gd name="T92" fmla="*/ 155 w 935"/>
                <a:gd name="T93" fmla="*/ 0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35" h="704">
                  <a:moveTo>
                    <a:pt x="155" y="0"/>
                  </a:moveTo>
                  <a:lnTo>
                    <a:pt x="153" y="2"/>
                  </a:lnTo>
                  <a:cubicBezTo>
                    <a:pt x="142" y="13"/>
                    <a:pt x="141" y="24"/>
                    <a:pt x="145" y="33"/>
                  </a:cubicBezTo>
                  <a:cubicBezTo>
                    <a:pt x="148" y="43"/>
                    <a:pt x="157" y="51"/>
                    <a:pt x="165" y="60"/>
                  </a:cubicBezTo>
                  <a:cubicBezTo>
                    <a:pt x="174" y="68"/>
                    <a:pt x="183" y="77"/>
                    <a:pt x="188" y="86"/>
                  </a:cubicBezTo>
                  <a:cubicBezTo>
                    <a:pt x="194" y="95"/>
                    <a:pt x="196" y="104"/>
                    <a:pt x="194" y="114"/>
                  </a:cubicBezTo>
                  <a:cubicBezTo>
                    <a:pt x="186" y="120"/>
                    <a:pt x="178" y="129"/>
                    <a:pt x="171" y="140"/>
                  </a:cubicBezTo>
                  <a:cubicBezTo>
                    <a:pt x="162" y="151"/>
                    <a:pt x="154" y="165"/>
                    <a:pt x="147" y="178"/>
                  </a:cubicBezTo>
                  <a:cubicBezTo>
                    <a:pt x="133" y="204"/>
                    <a:pt x="123" y="228"/>
                    <a:pt x="123" y="228"/>
                  </a:cubicBezTo>
                  <a:cubicBezTo>
                    <a:pt x="122" y="231"/>
                    <a:pt x="121" y="233"/>
                    <a:pt x="120" y="235"/>
                  </a:cubicBezTo>
                  <a:cubicBezTo>
                    <a:pt x="117" y="236"/>
                    <a:pt x="113" y="238"/>
                    <a:pt x="108" y="240"/>
                  </a:cubicBezTo>
                  <a:cubicBezTo>
                    <a:pt x="98" y="244"/>
                    <a:pt x="85" y="247"/>
                    <a:pt x="71" y="249"/>
                  </a:cubicBezTo>
                  <a:cubicBezTo>
                    <a:pt x="44" y="253"/>
                    <a:pt x="17" y="254"/>
                    <a:pt x="17" y="254"/>
                  </a:cubicBezTo>
                  <a:lnTo>
                    <a:pt x="16" y="254"/>
                  </a:lnTo>
                  <a:cubicBezTo>
                    <a:pt x="14" y="254"/>
                    <a:pt x="11" y="256"/>
                    <a:pt x="10" y="258"/>
                  </a:cubicBezTo>
                  <a:cubicBezTo>
                    <a:pt x="8" y="260"/>
                    <a:pt x="7" y="262"/>
                    <a:pt x="7" y="265"/>
                  </a:cubicBezTo>
                  <a:cubicBezTo>
                    <a:pt x="5" y="270"/>
                    <a:pt x="4" y="277"/>
                    <a:pt x="3" y="285"/>
                  </a:cubicBezTo>
                  <a:cubicBezTo>
                    <a:pt x="1" y="301"/>
                    <a:pt x="0" y="322"/>
                    <a:pt x="0" y="343"/>
                  </a:cubicBezTo>
                  <a:cubicBezTo>
                    <a:pt x="1" y="364"/>
                    <a:pt x="2" y="385"/>
                    <a:pt x="4" y="401"/>
                  </a:cubicBezTo>
                  <a:cubicBezTo>
                    <a:pt x="5" y="410"/>
                    <a:pt x="7" y="416"/>
                    <a:pt x="9" y="421"/>
                  </a:cubicBezTo>
                  <a:cubicBezTo>
                    <a:pt x="10" y="424"/>
                    <a:pt x="11" y="426"/>
                    <a:pt x="12" y="428"/>
                  </a:cubicBezTo>
                  <a:cubicBezTo>
                    <a:pt x="14" y="430"/>
                    <a:pt x="16" y="431"/>
                    <a:pt x="18" y="431"/>
                  </a:cubicBezTo>
                  <a:cubicBezTo>
                    <a:pt x="57" y="441"/>
                    <a:pt x="99" y="449"/>
                    <a:pt x="139" y="458"/>
                  </a:cubicBezTo>
                  <a:cubicBezTo>
                    <a:pt x="156" y="464"/>
                    <a:pt x="207" y="482"/>
                    <a:pt x="221" y="555"/>
                  </a:cubicBezTo>
                  <a:lnTo>
                    <a:pt x="221" y="556"/>
                  </a:lnTo>
                  <a:lnTo>
                    <a:pt x="221" y="556"/>
                  </a:lnTo>
                  <a:cubicBezTo>
                    <a:pt x="223" y="562"/>
                    <a:pt x="223" y="572"/>
                    <a:pt x="222" y="584"/>
                  </a:cubicBezTo>
                  <a:cubicBezTo>
                    <a:pt x="221" y="595"/>
                    <a:pt x="219" y="609"/>
                    <a:pt x="217" y="622"/>
                  </a:cubicBezTo>
                  <a:cubicBezTo>
                    <a:pt x="215" y="635"/>
                    <a:pt x="214" y="649"/>
                    <a:pt x="214" y="660"/>
                  </a:cubicBezTo>
                  <a:cubicBezTo>
                    <a:pt x="214" y="671"/>
                    <a:pt x="216" y="681"/>
                    <a:pt x="222" y="687"/>
                  </a:cubicBezTo>
                  <a:lnTo>
                    <a:pt x="223" y="688"/>
                  </a:lnTo>
                  <a:lnTo>
                    <a:pt x="224" y="689"/>
                  </a:lnTo>
                  <a:cubicBezTo>
                    <a:pt x="236" y="693"/>
                    <a:pt x="262" y="700"/>
                    <a:pt x="292" y="702"/>
                  </a:cubicBezTo>
                  <a:cubicBezTo>
                    <a:pt x="322" y="703"/>
                    <a:pt x="357" y="698"/>
                    <a:pt x="385" y="677"/>
                  </a:cubicBezTo>
                  <a:lnTo>
                    <a:pt x="385" y="677"/>
                  </a:lnTo>
                  <a:lnTo>
                    <a:pt x="385" y="676"/>
                  </a:lnTo>
                  <a:cubicBezTo>
                    <a:pt x="390" y="671"/>
                    <a:pt x="393" y="664"/>
                    <a:pt x="397" y="654"/>
                  </a:cubicBezTo>
                  <a:cubicBezTo>
                    <a:pt x="401" y="645"/>
                    <a:pt x="404" y="634"/>
                    <a:pt x="409" y="623"/>
                  </a:cubicBezTo>
                  <a:cubicBezTo>
                    <a:pt x="413" y="613"/>
                    <a:pt x="417" y="603"/>
                    <a:pt x="422" y="596"/>
                  </a:cubicBezTo>
                  <a:cubicBezTo>
                    <a:pt x="425" y="590"/>
                    <a:pt x="430" y="585"/>
                    <a:pt x="436" y="584"/>
                  </a:cubicBezTo>
                  <a:cubicBezTo>
                    <a:pt x="488" y="571"/>
                    <a:pt x="541" y="563"/>
                    <a:pt x="602" y="575"/>
                  </a:cubicBezTo>
                  <a:cubicBezTo>
                    <a:pt x="627" y="581"/>
                    <a:pt x="634" y="619"/>
                    <a:pt x="640" y="640"/>
                  </a:cubicBezTo>
                  <a:cubicBezTo>
                    <a:pt x="644" y="653"/>
                    <a:pt x="649" y="665"/>
                    <a:pt x="656" y="676"/>
                  </a:cubicBezTo>
                  <a:cubicBezTo>
                    <a:pt x="665" y="686"/>
                    <a:pt x="667" y="689"/>
                    <a:pt x="692" y="696"/>
                  </a:cubicBezTo>
                  <a:cubicBezTo>
                    <a:pt x="693" y="696"/>
                    <a:pt x="723" y="704"/>
                    <a:pt x="754" y="701"/>
                  </a:cubicBezTo>
                  <a:cubicBezTo>
                    <a:pt x="769" y="700"/>
                    <a:pt x="785" y="696"/>
                    <a:pt x="798" y="686"/>
                  </a:cubicBezTo>
                  <a:cubicBezTo>
                    <a:pt x="810" y="677"/>
                    <a:pt x="818" y="661"/>
                    <a:pt x="818" y="639"/>
                  </a:cubicBezTo>
                  <a:lnTo>
                    <a:pt x="818" y="639"/>
                  </a:lnTo>
                  <a:lnTo>
                    <a:pt x="818" y="638"/>
                  </a:lnTo>
                  <a:cubicBezTo>
                    <a:pt x="818" y="638"/>
                    <a:pt x="814" y="616"/>
                    <a:pt x="813" y="593"/>
                  </a:cubicBezTo>
                  <a:cubicBezTo>
                    <a:pt x="812" y="581"/>
                    <a:pt x="812" y="569"/>
                    <a:pt x="814" y="559"/>
                  </a:cubicBezTo>
                  <a:cubicBezTo>
                    <a:pt x="816" y="549"/>
                    <a:pt x="820" y="541"/>
                    <a:pt x="824" y="538"/>
                  </a:cubicBezTo>
                  <a:cubicBezTo>
                    <a:pt x="824" y="538"/>
                    <a:pt x="848" y="521"/>
                    <a:pt x="869" y="485"/>
                  </a:cubicBezTo>
                  <a:cubicBezTo>
                    <a:pt x="890" y="449"/>
                    <a:pt x="909" y="393"/>
                    <a:pt x="900" y="317"/>
                  </a:cubicBezTo>
                  <a:lnTo>
                    <a:pt x="900" y="317"/>
                  </a:lnTo>
                  <a:cubicBezTo>
                    <a:pt x="896" y="293"/>
                    <a:pt x="887" y="281"/>
                    <a:pt x="907" y="232"/>
                  </a:cubicBezTo>
                  <a:cubicBezTo>
                    <a:pt x="931" y="171"/>
                    <a:pt x="935" y="124"/>
                    <a:pt x="929" y="97"/>
                  </a:cubicBezTo>
                  <a:cubicBezTo>
                    <a:pt x="926" y="83"/>
                    <a:pt x="921" y="74"/>
                    <a:pt x="912" y="71"/>
                  </a:cubicBezTo>
                  <a:cubicBezTo>
                    <a:pt x="908" y="70"/>
                    <a:pt x="903" y="71"/>
                    <a:pt x="900" y="74"/>
                  </a:cubicBezTo>
                  <a:cubicBezTo>
                    <a:pt x="896" y="77"/>
                    <a:pt x="893" y="81"/>
                    <a:pt x="890" y="87"/>
                  </a:cubicBezTo>
                  <a:lnTo>
                    <a:pt x="890" y="88"/>
                  </a:lnTo>
                  <a:lnTo>
                    <a:pt x="890" y="88"/>
                  </a:lnTo>
                  <a:cubicBezTo>
                    <a:pt x="890" y="88"/>
                    <a:pt x="886" y="106"/>
                    <a:pt x="879" y="124"/>
                  </a:cubicBezTo>
                  <a:cubicBezTo>
                    <a:pt x="875" y="133"/>
                    <a:pt x="871" y="141"/>
                    <a:pt x="865" y="147"/>
                  </a:cubicBezTo>
                  <a:cubicBezTo>
                    <a:pt x="860" y="153"/>
                    <a:pt x="855" y="155"/>
                    <a:pt x="849" y="155"/>
                  </a:cubicBezTo>
                  <a:cubicBezTo>
                    <a:pt x="846" y="153"/>
                    <a:pt x="803" y="113"/>
                    <a:pt x="720" y="79"/>
                  </a:cubicBezTo>
                  <a:cubicBezTo>
                    <a:pt x="684" y="65"/>
                    <a:pt x="641" y="52"/>
                    <a:pt x="590" y="44"/>
                  </a:cubicBezTo>
                  <a:lnTo>
                    <a:pt x="588" y="54"/>
                  </a:lnTo>
                  <a:cubicBezTo>
                    <a:pt x="638" y="62"/>
                    <a:pt x="680" y="74"/>
                    <a:pt x="716" y="88"/>
                  </a:cubicBezTo>
                  <a:cubicBezTo>
                    <a:pt x="800" y="122"/>
                    <a:pt x="843" y="164"/>
                    <a:pt x="843" y="164"/>
                  </a:cubicBezTo>
                  <a:lnTo>
                    <a:pt x="845" y="165"/>
                  </a:lnTo>
                  <a:lnTo>
                    <a:pt x="846" y="165"/>
                  </a:lnTo>
                  <a:cubicBezTo>
                    <a:pt x="857" y="166"/>
                    <a:pt x="866" y="161"/>
                    <a:pt x="872" y="154"/>
                  </a:cubicBezTo>
                  <a:cubicBezTo>
                    <a:pt x="879" y="147"/>
                    <a:pt x="884" y="137"/>
                    <a:pt x="888" y="128"/>
                  </a:cubicBezTo>
                  <a:cubicBezTo>
                    <a:pt x="896" y="109"/>
                    <a:pt x="899" y="92"/>
                    <a:pt x="899" y="91"/>
                  </a:cubicBezTo>
                  <a:cubicBezTo>
                    <a:pt x="901" y="86"/>
                    <a:pt x="904" y="83"/>
                    <a:pt x="906" y="82"/>
                  </a:cubicBezTo>
                  <a:cubicBezTo>
                    <a:pt x="908" y="80"/>
                    <a:pt x="908" y="80"/>
                    <a:pt x="909" y="81"/>
                  </a:cubicBezTo>
                  <a:cubicBezTo>
                    <a:pt x="911" y="81"/>
                    <a:pt x="916" y="87"/>
                    <a:pt x="919" y="99"/>
                  </a:cubicBezTo>
                  <a:cubicBezTo>
                    <a:pt x="924" y="123"/>
                    <a:pt x="921" y="169"/>
                    <a:pt x="897" y="228"/>
                  </a:cubicBezTo>
                  <a:cubicBezTo>
                    <a:pt x="877" y="279"/>
                    <a:pt x="887" y="297"/>
                    <a:pt x="890" y="318"/>
                  </a:cubicBezTo>
                  <a:cubicBezTo>
                    <a:pt x="899" y="392"/>
                    <a:pt x="880" y="445"/>
                    <a:pt x="860" y="480"/>
                  </a:cubicBezTo>
                  <a:cubicBezTo>
                    <a:pt x="840" y="514"/>
                    <a:pt x="818" y="530"/>
                    <a:pt x="818" y="530"/>
                  </a:cubicBezTo>
                  <a:cubicBezTo>
                    <a:pt x="810" y="535"/>
                    <a:pt x="806" y="545"/>
                    <a:pt x="804" y="557"/>
                  </a:cubicBezTo>
                  <a:cubicBezTo>
                    <a:pt x="802" y="568"/>
                    <a:pt x="802" y="581"/>
                    <a:pt x="803" y="593"/>
                  </a:cubicBezTo>
                  <a:cubicBezTo>
                    <a:pt x="804" y="618"/>
                    <a:pt x="808" y="639"/>
                    <a:pt x="808" y="639"/>
                  </a:cubicBezTo>
                  <a:cubicBezTo>
                    <a:pt x="808" y="639"/>
                    <a:pt x="808" y="640"/>
                    <a:pt x="808" y="640"/>
                  </a:cubicBezTo>
                  <a:cubicBezTo>
                    <a:pt x="808" y="659"/>
                    <a:pt x="801" y="671"/>
                    <a:pt x="791" y="678"/>
                  </a:cubicBezTo>
                  <a:cubicBezTo>
                    <a:pt x="781" y="686"/>
                    <a:pt x="767" y="690"/>
                    <a:pt x="753" y="691"/>
                  </a:cubicBezTo>
                  <a:cubicBezTo>
                    <a:pt x="732" y="692"/>
                    <a:pt x="711" y="690"/>
                    <a:pt x="693" y="686"/>
                  </a:cubicBezTo>
                  <a:cubicBezTo>
                    <a:pt x="679" y="684"/>
                    <a:pt x="671" y="678"/>
                    <a:pt x="665" y="670"/>
                  </a:cubicBezTo>
                  <a:cubicBezTo>
                    <a:pt x="658" y="661"/>
                    <a:pt x="654" y="649"/>
                    <a:pt x="650" y="637"/>
                  </a:cubicBezTo>
                  <a:cubicBezTo>
                    <a:pt x="637" y="605"/>
                    <a:pt x="634" y="572"/>
                    <a:pt x="606" y="566"/>
                  </a:cubicBezTo>
                  <a:cubicBezTo>
                    <a:pt x="546" y="556"/>
                    <a:pt x="484" y="562"/>
                    <a:pt x="434" y="574"/>
                  </a:cubicBezTo>
                  <a:cubicBezTo>
                    <a:pt x="425" y="576"/>
                    <a:pt x="419" y="582"/>
                    <a:pt x="414" y="590"/>
                  </a:cubicBezTo>
                  <a:cubicBezTo>
                    <a:pt x="408" y="599"/>
                    <a:pt x="403" y="609"/>
                    <a:pt x="399" y="620"/>
                  </a:cubicBezTo>
                  <a:cubicBezTo>
                    <a:pt x="395" y="631"/>
                    <a:pt x="391" y="641"/>
                    <a:pt x="388" y="651"/>
                  </a:cubicBezTo>
                  <a:cubicBezTo>
                    <a:pt x="384" y="660"/>
                    <a:pt x="380" y="667"/>
                    <a:pt x="378" y="670"/>
                  </a:cubicBezTo>
                  <a:cubicBezTo>
                    <a:pt x="352" y="688"/>
                    <a:pt x="321" y="693"/>
                    <a:pt x="292" y="692"/>
                  </a:cubicBezTo>
                  <a:cubicBezTo>
                    <a:pt x="264" y="691"/>
                    <a:pt x="241" y="684"/>
                    <a:pt x="229" y="680"/>
                  </a:cubicBezTo>
                  <a:cubicBezTo>
                    <a:pt x="226" y="676"/>
                    <a:pt x="224" y="669"/>
                    <a:pt x="224" y="660"/>
                  </a:cubicBezTo>
                  <a:cubicBezTo>
                    <a:pt x="224" y="649"/>
                    <a:pt x="225" y="637"/>
                    <a:pt x="227" y="624"/>
                  </a:cubicBezTo>
                  <a:cubicBezTo>
                    <a:pt x="229" y="610"/>
                    <a:pt x="231" y="597"/>
                    <a:pt x="232" y="585"/>
                  </a:cubicBezTo>
                  <a:cubicBezTo>
                    <a:pt x="233" y="573"/>
                    <a:pt x="233" y="562"/>
                    <a:pt x="231" y="553"/>
                  </a:cubicBezTo>
                  <a:cubicBezTo>
                    <a:pt x="231" y="553"/>
                    <a:pt x="231" y="553"/>
                    <a:pt x="231" y="553"/>
                  </a:cubicBezTo>
                  <a:lnTo>
                    <a:pt x="230" y="553"/>
                  </a:lnTo>
                  <a:cubicBezTo>
                    <a:pt x="215" y="476"/>
                    <a:pt x="159" y="454"/>
                    <a:pt x="141" y="448"/>
                  </a:cubicBezTo>
                  <a:lnTo>
                    <a:pt x="141" y="448"/>
                  </a:lnTo>
                  <a:lnTo>
                    <a:pt x="141" y="448"/>
                  </a:lnTo>
                  <a:lnTo>
                    <a:pt x="20" y="422"/>
                  </a:lnTo>
                  <a:lnTo>
                    <a:pt x="20" y="422"/>
                  </a:lnTo>
                  <a:cubicBezTo>
                    <a:pt x="20" y="422"/>
                    <a:pt x="19" y="420"/>
                    <a:pt x="18" y="418"/>
                  </a:cubicBezTo>
                  <a:cubicBezTo>
                    <a:pt x="16" y="414"/>
                    <a:pt x="15" y="408"/>
                    <a:pt x="14" y="400"/>
                  </a:cubicBezTo>
                  <a:cubicBezTo>
                    <a:pt x="12" y="384"/>
                    <a:pt x="11" y="364"/>
                    <a:pt x="10" y="343"/>
                  </a:cubicBezTo>
                  <a:cubicBezTo>
                    <a:pt x="10" y="322"/>
                    <a:pt x="11" y="301"/>
                    <a:pt x="13" y="286"/>
                  </a:cubicBezTo>
                  <a:cubicBezTo>
                    <a:pt x="14" y="278"/>
                    <a:pt x="15" y="272"/>
                    <a:pt x="16" y="268"/>
                  </a:cubicBezTo>
                  <a:cubicBezTo>
                    <a:pt x="17" y="266"/>
                    <a:pt x="18" y="265"/>
                    <a:pt x="18" y="264"/>
                  </a:cubicBezTo>
                  <a:cubicBezTo>
                    <a:pt x="19" y="264"/>
                    <a:pt x="45" y="263"/>
                    <a:pt x="73" y="259"/>
                  </a:cubicBezTo>
                  <a:cubicBezTo>
                    <a:pt x="87" y="257"/>
                    <a:pt x="101" y="254"/>
                    <a:pt x="112" y="250"/>
                  </a:cubicBezTo>
                  <a:cubicBezTo>
                    <a:pt x="117" y="248"/>
                    <a:pt x="122" y="245"/>
                    <a:pt x="126" y="242"/>
                  </a:cubicBezTo>
                  <a:cubicBezTo>
                    <a:pt x="130" y="239"/>
                    <a:pt x="131" y="235"/>
                    <a:pt x="132" y="232"/>
                  </a:cubicBezTo>
                  <a:cubicBezTo>
                    <a:pt x="132" y="232"/>
                    <a:pt x="142" y="209"/>
                    <a:pt x="156" y="183"/>
                  </a:cubicBezTo>
                  <a:cubicBezTo>
                    <a:pt x="163" y="170"/>
                    <a:pt x="171" y="156"/>
                    <a:pt x="179" y="145"/>
                  </a:cubicBezTo>
                  <a:cubicBezTo>
                    <a:pt x="187" y="134"/>
                    <a:pt x="195" y="125"/>
                    <a:pt x="201" y="121"/>
                  </a:cubicBezTo>
                  <a:lnTo>
                    <a:pt x="203" y="120"/>
                  </a:lnTo>
                  <a:lnTo>
                    <a:pt x="203" y="118"/>
                  </a:lnTo>
                  <a:cubicBezTo>
                    <a:pt x="207" y="104"/>
                    <a:pt x="203" y="91"/>
                    <a:pt x="197" y="81"/>
                  </a:cubicBezTo>
                  <a:cubicBezTo>
                    <a:pt x="190" y="70"/>
                    <a:pt x="181" y="61"/>
                    <a:pt x="172" y="52"/>
                  </a:cubicBezTo>
                  <a:cubicBezTo>
                    <a:pt x="164" y="44"/>
                    <a:pt x="157" y="36"/>
                    <a:pt x="154" y="30"/>
                  </a:cubicBezTo>
                  <a:cubicBezTo>
                    <a:pt x="151" y="24"/>
                    <a:pt x="152" y="19"/>
                    <a:pt x="158" y="12"/>
                  </a:cubicBezTo>
                  <a:cubicBezTo>
                    <a:pt x="162" y="13"/>
                    <a:pt x="197" y="26"/>
                    <a:pt x="238" y="40"/>
                  </a:cubicBezTo>
                  <a:cubicBezTo>
                    <a:pt x="259" y="47"/>
                    <a:pt x="282" y="54"/>
                    <a:pt x="300" y="58"/>
                  </a:cubicBezTo>
                  <a:cubicBezTo>
                    <a:pt x="309" y="60"/>
                    <a:pt x="317" y="62"/>
                    <a:pt x="324" y="62"/>
                  </a:cubicBezTo>
                  <a:cubicBezTo>
                    <a:pt x="331" y="64"/>
                    <a:pt x="333" y="63"/>
                    <a:pt x="339" y="61"/>
                  </a:cubicBezTo>
                  <a:cubicBezTo>
                    <a:pt x="380" y="53"/>
                    <a:pt x="418" y="49"/>
                    <a:pt x="454" y="47"/>
                  </a:cubicBezTo>
                  <a:lnTo>
                    <a:pt x="453" y="37"/>
                  </a:lnTo>
                  <a:cubicBezTo>
                    <a:pt x="416" y="39"/>
                    <a:pt x="378" y="43"/>
                    <a:pt x="337" y="51"/>
                  </a:cubicBezTo>
                  <a:cubicBezTo>
                    <a:pt x="333" y="52"/>
                    <a:pt x="328" y="52"/>
                    <a:pt x="325" y="52"/>
                  </a:cubicBezTo>
                  <a:cubicBezTo>
                    <a:pt x="319" y="52"/>
                    <a:pt x="311" y="50"/>
                    <a:pt x="302" y="48"/>
                  </a:cubicBezTo>
                  <a:cubicBezTo>
                    <a:pt x="284" y="44"/>
                    <a:pt x="262" y="37"/>
                    <a:pt x="241" y="31"/>
                  </a:cubicBezTo>
                  <a:cubicBezTo>
                    <a:pt x="198" y="17"/>
                    <a:pt x="158" y="1"/>
                    <a:pt x="158" y="1"/>
                  </a:cubicBezTo>
                  <a:lnTo>
                    <a:pt x="155" y="0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525300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16D980-5999-3C8D-B097-88379B3E558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The incentive detai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E6A32D-20AA-6218-AEFA-C9620161962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17350" y="6262688"/>
            <a:ext cx="374650" cy="363537"/>
          </a:xfrm>
        </p:spPr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8098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advertising volu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A78E5B-54A1-CF11-D74B-7D5738BD6A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Customers within the Charity Sector when you add more advertising mail to your planned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  Advertising Mail or Catalogue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 Letters/Large Letters or 50k Catalogue items. 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7F266-3070-4B83-9733-B15DC3AD9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91F178B-FA22-2429-0145-3AB7BB2C46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86BA35-0E94-220C-8A1D-1E6441F21B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4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90B58B-6CF1-4955-8D52-7FBE295B9BD2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763D653-18EE-4628-8A73-0A473F0C4375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50EC5FC-1270-41FF-A626-74A5248546C4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86B2D5A-22BF-4879-9614-32F41509D7EE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52DC4-6365-41DC-B358-A3F94817D177}"/>
              </a:ext>
            </a:extLst>
          </p:cNvPr>
          <p:cNvSpPr txBox="1"/>
          <p:nvPr/>
        </p:nvSpPr>
        <p:spPr>
          <a:xfrm>
            <a:off x="807776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or Large Letters items sent using Advertising Mail Mailmark or Catalogue Mail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02E1EA-EFA6-4CAF-A9D7-1F201D8F5B01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F27763-2715-4333-A30D-4A43099E7A7E}"/>
              </a:ext>
            </a:extLst>
          </p:cNvPr>
          <p:cNvSpPr txBox="1"/>
          <p:nvPr/>
        </p:nvSpPr>
        <p:spPr>
          <a:xfrm>
            <a:off x="6082742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, test mailings must include a minimum of 100k advertising mail items and a maximum of 1m items over the incentive period.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BE4D2A-B711-4648-84B3-069249F9177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A48AC1-E82A-475B-8546-A9ABAFA0EE9D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8B92FC-59CB-4A91-AE6E-2C5B755F4174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43AFB8-AB54-4CE1-8221-FD65726C0178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D023D-E873-4B8F-9552-B6FD46601525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5770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9DE91-F921-4DBA-BD51-28827ED34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C0722B8-6ED7-7A81-3387-6DD5264A2E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1E52A3-242E-4AFC-8F94-C61FD634B7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947305-9693-24C8-ED9A-1A67396217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35AF87-D7F3-4FD6-BE60-9F186F1FFD90}"/>
              </a:ext>
            </a:extLst>
          </p:cNvPr>
          <p:cNvSpPr txBox="1"/>
          <p:nvPr/>
        </p:nvSpPr>
        <p:spPr>
          <a:xfrm>
            <a:off x="2073861" y="3546635"/>
            <a:ext cx="12066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 February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CEAF62-6C1D-4BB6-BAFB-3A6115EACE06}"/>
              </a:ext>
            </a:extLst>
          </p:cNvPr>
          <p:cNvSpPr txBox="1"/>
          <p:nvPr/>
        </p:nvSpPr>
        <p:spPr>
          <a:xfrm>
            <a:off x="1725752" y="4488569"/>
            <a:ext cx="1902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97E206-5996-457D-9541-ADE0CC97B800}"/>
              </a:ext>
            </a:extLst>
          </p:cNvPr>
          <p:cNvSpPr txBox="1"/>
          <p:nvPr/>
        </p:nvSpPr>
        <p:spPr>
          <a:xfrm>
            <a:off x="6689568" y="3546635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A0293F-A0E1-4CF4-981C-6AFD52533455}"/>
              </a:ext>
            </a:extLst>
          </p:cNvPr>
          <p:cNvSpPr txBox="1"/>
          <p:nvPr/>
        </p:nvSpPr>
        <p:spPr>
          <a:xfrm>
            <a:off x="6408306" y="4488569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E2BE64-45CF-4C40-A47F-13952F4E5278}"/>
              </a:ext>
            </a:extLst>
          </p:cNvPr>
          <p:cNvSpPr txBox="1"/>
          <p:nvPr/>
        </p:nvSpPr>
        <p:spPr>
          <a:xfrm>
            <a:off x="9021103" y="3546635"/>
            <a:ext cx="94513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0 May 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FA213B-60B8-45A9-ABA6-625B7E48B591}"/>
              </a:ext>
            </a:extLst>
          </p:cNvPr>
          <p:cNvSpPr txBox="1"/>
          <p:nvPr/>
        </p:nvSpPr>
        <p:spPr>
          <a:xfrm>
            <a:off x="8606310" y="4488569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FBBFDC-BF9C-D761-8787-DCF604390DBC}"/>
              </a:ext>
            </a:extLst>
          </p:cNvPr>
          <p:cNvSpPr txBox="1"/>
          <p:nvPr/>
        </p:nvSpPr>
        <p:spPr>
          <a:xfrm>
            <a:off x="4444514" y="3546635"/>
            <a:ext cx="9684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68815A-687B-444E-6C86-CCAF47BA15E8}"/>
              </a:ext>
            </a:extLst>
          </p:cNvPr>
          <p:cNvSpPr txBox="1"/>
          <p:nvPr/>
        </p:nvSpPr>
        <p:spPr>
          <a:xfrm>
            <a:off x="4028150" y="4488569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8BA26B4-386F-3C12-35D1-10997740438E}"/>
              </a:ext>
            </a:extLst>
          </p:cNvPr>
          <p:cNvGrpSpPr/>
          <p:nvPr/>
        </p:nvGrpSpPr>
        <p:grpSpPr>
          <a:xfrm>
            <a:off x="1853160" y="2625648"/>
            <a:ext cx="1648014" cy="1808359"/>
            <a:chOff x="6761932" y="1222043"/>
            <a:chExt cx="1648014" cy="1808359"/>
          </a:xfrm>
        </p:grpSpPr>
        <p:sp>
          <p:nvSpPr>
            <p:cNvPr id="24" name="Free-form: Shape 297">
              <a:extLst>
                <a:ext uri="{FF2B5EF4-FFF2-40B4-BE49-F238E27FC236}">
                  <a16:creationId xmlns:a16="http://schemas.microsoft.com/office/drawing/2014/main" id="{3BCD2DF3-0003-53DF-CD65-D0C2151CA94B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5" name="Free-form: Shape 298">
              <a:extLst>
                <a:ext uri="{FF2B5EF4-FFF2-40B4-BE49-F238E27FC236}">
                  <a16:creationId xmlns:a16="http://schemas.microsoft.com/office/drawing/2014/main" id="{841B831B-83E6-B049-C995-93FAA2EB943C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E8AFFD5-9C59-9313-BFC1-9EE48205F741}"/>
              </a:ext>
            </a:extLst>
          </p:cNvPr>
          <p:cNvGrpSpPr/>
          <p:nvPr/>
        </p:nvGrpSpPr>
        <p:grpSpPr>
          <a:xfrm>
            <a:off x="4104742" y="2625648"/>
            <a:ext cx="1648014" cy="1808359"/>
            <a:chOff x="6761932" y="1222043"/>
            <a:chExt cx="1648014" cy="1808359"/>
          </a:xfrm>
        </p:grpSpPr>
        <p:sp>
          <p:nvSpPr>
            <p:cNvPr id="32" name="Free-form: Shape 297">
              <a:extLst>
                <a:ext uri="{FF2B5EF4-FFF2-40B4-BE49-F238E27FC236}">
                  <a16:creationId xmlns:a16="http://schemas.microsoft.com/office/drawing/2014/main" id="{BC9D9712-371F-B62C-F75F-28B3DAF756A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3" name="Free-form: Shape 298">
              <a:extLst>
                <a:ext uri="{FF2B5EF4-FFF2-40B4-BE49-F238E27FC236}">
                  <a16:creationId xmlns:a16="http://schemas.microsoft.com/office/drawing/2014/main" id="{2DABCB0D-4844-E2A9-14B3-A481D48A27C1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7CAF0D5-3AFB-C9BD-F903-1773871AFF06}"/>
              </a:ext>
            </a:extLst>
          </p:cNvPr>
          <p:cNvGrpSpPr/>
          <p:nvPr/>
        </p:nvGrpSpPr>
        <p:grpSpPr>
          <a:xfrm>
            <a:off x="6408306" y="2625648"/>
            <a:ext cx="1648014" cy="1808359"/>
            <a:chOff x="6761932" y="1222043"/>
            <a:chExt cx="1648014" cy="1808359"/>
          </a:xfrm>
        </p:grpSpPr>
        <p:sp>
          <p:nvSpPr>
            <p:cNvPr id="35" name="Free-form: Shape 297">
              <a:extLst>
                <a:ext uri="{FF2B5EF4-FFF2-40B4-BE49-F238E27FC236}">
                  <a16:creationId xmlns:a16="http://schemas.microsoft.com/office/drawing/2014/main" id="{E380F69A-DDC8-79CB-A3A0-193602B357BB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-form: Shape 298">
              <a:extLst>
                <a:ext uri="{FF2B5EF4-FFF2-40B4-BE49-F238E27FC236}">
                  <a16:creationId xmlns:a16="http://schemas.microsoft.com/office/drawing/2014/main" id="{71B95F44-21C4-06DE-C57B-72E9D1CD965E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8C6C63E-91E3-C3D7-0B43-D2ADC7B99885}"/>
              </a:ext>
            </a:extLst>
          </p:cNvPr>
          <p:cNvGrpSpPr/>
          <p:nvPr/>
        </p:nvGrpSpPr>
        <p:grpSpPr>
          <a:xfrm>
            <a:off x="8669662" y="2625648"/>
            <a:ext cx="1648014" cy="1808359"/>
            <a:chOff x="6761932" y="1222043"/>
            <a:chExt cx="1648014" cy="1808359"/>
          </a:xfrm>
        </p:grpSpPr>
        <p:sp>
          <p:nvSpPr>
            <p:cNvPr id="38" name="Free-form: Shape 297">
              <a:extLst>
                <a:ext uri="{FF2B5EF4-FFF2-40B4-BE49-F238E27FC236}">
                  <a16:creationId xmlns:a16="http://schemas.microsoft.com/office/drawing/2014/main" id="{0742ED2A-50AA-268E-2244-8AA10478AD69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-form: Shape 298">
              <a:extLst>
                <a:ext uri="{FF2B5EF4-FFF2-40B4-BE49-F238E27FC236}">
                  <a16:creationId xmlns:a16="http://schemas.microsoft.com/office/drawing/2014/main" id="{0D3AC30D-26E2-3732-0FA6-9B05A199DACA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38814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8E404E-6A42-7266-596B-CC1D87CBF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4791FC-4B3D-25C7-00DC-2CE9FB1FE5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631156" y="2991635"/>
            <a:ext cx="35680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Get postage credit of up to 20% for incremental advertising mail item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84DFF6-A8CD-4D91-B51D-D048FCF43A08}"/>
              </a:ext>
            </a:extLst>
          </p:cNvPr>
          <p:cNvSpPr txBox="1"/>
          <p:nvPr/>
        </p:nvSpPr>
        <p:spPr>
          <a:xfrm>
            <a:off x="7631156" y="2058424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40035E-504A-4484-82AB-EA18BD758572}"/>
              </a:ext>
            </a:extLst>
          </p:cNvPr>
          <p:cNvGrpSpPr/>
          <p:nvPr/>
        </p:nvGrpSpPr>
        <p:grpSpPr>
          <a:xfrm>
            <a:off x="6626827" y="2928064"/>
            <a:ext cx="1004329" cy="1005431"/>
            <a:chOff x="6711028" y="4025932"/>
            <a:chExt cx="761165" cy="762000"/>
          </a:xfrm>
        </p:grpSpPr>
        <p:sp>
          <p:nvSpPr>
            <p:cNvPr id="12" name="Discount">
              <a:extLst>
                <a:ext uri="{FF2B5EF4-FFF2-40B4-BE49-F238E27FC236}">
                  <a16:creationId xmlns:a16="http://schemas.microsoft.com/office/drawing/2014/main" id="{E9E022D4-20A9-4425-BB12-17802CFF400D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Percent">
              <a:extLst>
                <a:ext uri="{FF2B5EF4-FFF2-40B4-BE49-F238E27FC236}">
                  <a16:creationId xmlns:a16="http://schemas.microsoft.com/office/drawing/2014/main" id="{A46DD1F5-E6BE-43DF-802D-33946110BBF7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4" name="Percent">
                <a:extLst>
                  <a:ext uri="{FF2B5EF4-FFF2-40B4-BE49-F238E27FC236}">
                    <a16:creationId xmlns:a16="http://schemas.microsoft.com/office/drawing/2014/main" id="{45CB299A-A951-48B7-9931-ACCC8F4BB1C5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Percent">
                <a:extLst>
                  <a:ext uri="{FF2B5EF4-FFF2-40B4-BE49-F238E27FC236}">
                    <a16:creationId xmlns:a16="http://schemas.microsoft.com/office/drawing/2014/main" id="{AC11F40C-08A4-46BE-A265-A096727C898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Percent">
                <a:extLst>
                  <a:ext uri="{FF2B5EF4-FFF2-40B4-BE49-F238E27FC236}">
                    <a16:creationId xmlns:a16="http://schemas.microsoft.com/office/drawing/2014/main" id="{3EF71AE4-67EC-4E3E-ACE0-35AD55232AB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448665"/>
            <a:ext cx="5276625" cy="105066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937AD97-B6DC-4C19-9B7F-FE4D5C31E59D}"/>
              </a:ext>
            </a:extLst>
          </p:cNvPr>
          <p:cNvSpPr txBox="1">
            <a:spLocks/>
          </p:cNvSpPr>
          <p:nvPr/>
        </p:nvSpPr>
        <p:spPr>
          <a:xfrm>
            <a:off x="6415753" y="426893"/>
            <a:ext cx="5276625" cy="105066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1A2984AD068642B78BBE6A26935240" ma:contentTypeVersion="17" ma:contentTypeDescription="Create a new document." ma:contentTypeScope="" ma:versionID="080e2c46edac6ad141391aea9aba4dba">
  <xsd:schema xmlns:xsd="http://www.w3.org/2001/XMLSchema" xmlns:xs="http://www.w3.org/2001/XMLSchema" xmlns:p="http://schemas.microsoft.com/office/2006/metadata/properties" xmlns:ns3="e658b740-7b15-4fdd-8a60-95e0faae0fd5" xmlns:ns4="89046138-1016-4867-a51d-91814a0d9dfd" targetNamespace="http://schemas.microsoft.com/office/2006/metadata/properties" ma:root="true" ma:fieldsID="7957e19c494cf0152c154be7b4742b07" ns3:_="" ns4:_="">
    <xsd:import namespace="e658b740-7b15-4fdd-8a60-95e0faae0fd5"/>
    <xsd:import namespace="89046138-1016-4867-a51d-91814a0d9df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MediaServiceObjectDetectorVersions" minOccurs="0"/>
                <xsd:element ref="ns3:MediaServiceSearchPropertie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58b740-7b15-4fdd-8a60-95e0faae0fd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activity" ma:index="24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046138-1016-4867-a51d-91814a0d9df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658b740-7b15-4fdd-8a60-95e0faae0fd5" xsi:nil="true"/>
  </documentManagement>
</p:properties>
</file>

<file path=customXml/itemProps1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0DABAD9-E6D8-4E82-B935-8B16B449783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58b740-7b15-4fdd-8a60-95e0faae0fd5"/>
    <ds:schemaRef ds:uri="89046138-1016-4867-a51d-91814a0d9df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e658b740-7b15-4fdd-8a60-95e0faae0fd5"/>
    <ds:schemaRef ds:uri="http://purl.org/dc/terms/"/>
    <ds:schemaRef ds:uri="http://schemas.microsoft.com/office/2006/documentManagement/types"/>
    <ds:schemaRef ds:uri="89046138-1016-4867-a51d-91814a0d9dfd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5</Words>
  <Application>Microsoft Office PowerPoint</Application>
  <PresentationFormat>Widescreen</PresentationFormat>
  <Paragraphs>142</Paragraphs>
  <Slides>1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entury Gothic</vt:lpstr>
      <vt:lpstr>Impact</vt:lpstr>
      <vt:lpstr>Wingdings</vt:lpstr>
      <vt:lpstr>Office Theme</vt:lpstr>
      <vt:lpstr>ROYAL MAIL CHARITY INCENTIVE 2025</vt:lpstr>
      <vt:lpstr>Engagement rates with charity mail</vt:lpstr>
      <vt:lpstr>Key media metrics for charity mail</vt:lpstr>
      <vt:lpstr>COMMERCIAL ENGAGEMENT</vt:lpstr>
      <vt:lpstr>PowerPoint Presentation</vt:lpstr>
      <vt:lpstr>Advertising mail</vt:lpstr>
      <vt:lpstr>ENTRY REQUIREMENTS</vt:lpstr>
      <vt:lpstr>OFFER DATES</vt:lpstr>
      <vt:lpstr>PowerPoint Presentation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1-27T11:3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531A2984AD068642B78BBE6A26935240</vt:lpwstr>
  </property>
</Properties>
</file>